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55.xml" ContentType="application/vnd.openxmlformats-officedocument.drawingml.chart+xml"/>
  <Override PartName="/ppt/charts/chart56.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79.xml" ContentType="application/vnd.openxmlformats-officedocument.drawingml.chart+xml"/>
  <Override PartName="/ppt/charts/chart80.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91.xml" ContentType="application/vnd.openxmlformats-officedocument.drawingml.chart+xml"/>
  <Override PartName="/ppt/charts/chart92.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103.xml" ContentType="application/vnd.openxmlformats-officedocument.drawingml.chart+xml"/>
  <Override PartName="/ppt/charts/chart104.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109.xml" ContentType="application/vnd.openxmlformats-officedocument.drawingml.chart+xml"/>
  <Override PartName="/ppt/charts/chart110.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115.xml" ContentType="application/vnd.openxmlformats-officedocument.drawingml.chart+xml"/>
  <Override PartName="/ppt/charts/chart116.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121.xml" ContentType="application/vnd.openxmlformats-officedocument.drawingml.chart+xml"/>
  <Override PartName="/ppt/charts/chart122.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127.xml" ContentType="application/vnd.openxmlformats-officedocument.drawingml.chart+xml"/>
  <Override PartName="/ppt/charts/chart128.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133.xml" ContentType="application/vnd.openxmlformats-officedocument.drawingml.chart+xml"/>
  <Override PartName="/ppt/charts/chart134.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139.xml" ContentType="application/vnd.openxmlformats-officedocument.drawingml.chart+xml"/>
  <Override PartName="/ppt/charts/chart140.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145.xml" ContentType="application/vnd.openxmlformats-officedocument.drawingml.chart+xml"/>
  <Override PartName="/ppt/charts/chart146.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151.xml" ContentType="application/vnd.openxmlformats-officedocument.drawingml.chart+xml"/>
  <Override PartName="/ppt/charts/chart152.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157.xml" ContentType="application/vnd.openxmlformats-officedocument.drawingml.chart+xml"/>
  <Override PartName="/ppt/charts/chart158.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163.xml" ContentType="application/vnd.openxmlformats-officedocument.drawingml.chart+xml"/>
  <Override PartName="/ppt/charts/chart164.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charts/chart169.xml" ContentType="application/vnd.openxmlformats-officedocument.drawingml.chart+xml"/>
  <Override PartName="/ppt/charts/chart170.xml" ContentType="application/vnd.openxmlformats-officedocument.drawingml.chart+xml"/>
  <Override PartName="/ppt/tags/tag85.xml" ContentType="application/vnd.openxmlformats-officedocument.presentationml.tags+xml"/>
  <Override PartName="/ppt/notesSlides/notesSlide58.xml" ContentType="application/vnd.openxmlformats-officedocument.presentationml.notesSlide+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notesSlides/notesSlide59.xml" ContentType="application/vnd.openxmlformats-officedocument.presentationml.notesSlide+xml"/>
  <Override PartName="/ppt/charts/chart175.xml" ContentType="application/vnd.openxmlformats-officedocument.drawingml.chart+xml"/>
  <Override PartName="/ppt/charts/chart176.xml" ContentType="application/vnd.openxmlformats-officedocument.drawingml.chart+xml"/>
  <Override PartName="/ppt/tags/tag87.xml" ContentType="application/vnd.openxmlformats-officedocument.presentationml.tags+xml"/>
  <Override PartName="/ppt/notesSlides/notesSlide60.xml" ContentType="application/vnd.openxmlformats-officedocument.presentationml.notesSlide+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notesSlides/notesSlide61.xml" ContentType="application/vnd.openxmlformats-officedocument.presentationml.notesSlide+xml"/>
  <Override PartName="/ppt/charts/chart181.xml" ContentType="application/vnd.openxmlformats-officedocument.drawingml.chart+xml"/>
  <Override PartName="/ppt/charts/chart182.xml" ContentType="application/vnd.openxmlformats-officedocument.drawingml.chart+xml"/>
  <Override PartName="/ppt/tags/tag89.xml" ContentType="application/vnd.openxmlformats-officedocument.presentationml.tags+xml"/>
  <Override PartName="/ppt/notesSlides/notesSlide62.xml" ContentType="application/vnd.openxmlformats-officedocument.presentationml.notesSlide+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notesSlides/notesSlide63.xml" ContentType="application/vnd.openxmlformats-officedocument.presentationml.notesSlide+xml"/>
  <Override PartName="/ppt/charts/chart187.xml" ContentType="application/vnd.openxmlformats-officedocument.drawingml.chart+xml"/>
  <Override PartName="/ppt/charts/chart188.xml" ContentType="application/vnd.openxmlformats-officedocument.drawingml.chart+xml"/>
  <Override PartName="/ppt/tags/tag91.xml" ContentType="application/vnd.openxmlformats-officedocument.presentationml.tags+xml"/>
  <Override PartName="/ppt/notesSlides/notesSlide64.xml" ContentType="application/vnd.openxmlformats-officedocument.presentationml.notesSlide+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notesSlides/notesSlide65.xml" ContentType="application/vnd.openxmlformats-officedocument.presentationml.notesSlide+xml"/>
  <Override PartName="/ppt/charts/chart193.xml" ContentType="application/vnd.openxmlformats-officedocument.drawingml.chart+xml"/>
  <Override PartName="/ppt/charts/chart194.xml" ContentType="application/vnd.openxmlformats-officedocument.drawingml.chart+xml"/>
  <Override PartName="/ppt/tags/tag93.xml" ContentType="application/vnd.openxmlformats-officedocument.presentationml.tags+xml"/>
  <Override PartName="/ppt/notesSlides/notesSlide66.xml" ContentType="application/vnd.openxmlformats-officedocument.presentationml.notesSlide+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7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By Category" id="{DA2EA294-131D-4486-BAF3-3EECCFFA441A}">
          <p14:sldIdLst>
            <p14:sldId id="2147475173"/>
            <p14:sldId id="2147475174"/>
            <p14:sldId id="2147475175"/>
            <p14:sldId id="2147475176"/>
            <p14:sldId id="2147475177"/>
            <p14:sldId id="2147475178"/>
          </p14:sldIdLst>
        </p14:section>
        <p14:section name="Brackets By Retailer By Sector" id="{C8EDA37D-4CE3-4957-BE37-1038D1DCC04C}">
          <p14:sldIdLst>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Lst>
        </p14:section>
        <p14:section name="Brackets By Retailer By Segment" id="{8823285A-B1C1-4E10-B05D-A5D2B839A57B}">
          <p14:sldIdLst>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48" d="100"/>
          <a:sy n="48" d="100"/>
        </p:scale>
        <p:origin x="726" y="36"/>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2075590602913538E-2</c:v>
                </c:pt>
                <c:pt idx="1">
                  <c:v>1.639080822621522E-2</c:v>
                </c:pt>
                <c:pt idx="2">
                  <c:v>2.8305055337770453E-2</c:v>
                </c:pt>
                <c:pt idx="3">
                  <c:v>4.2299900341770766E-2</c:v>
                </c:pt>
                <c:pt idx="4">
                  <c:v>8.7002200153398351E-2</c:v>
                </c:pt>
                <c:pt idx="5">
                  <c:v>9.608248837393922E-2</c:v>
                </c:pt>
                <c:pt idx="6">
                  <c:v>0.11481066318864561</c:v>
                </c:pt>
                <c:pt idx="7">
                  <c:v>0.16443901429586391</c:v>
                </c:pt>
                <c:pt idx="8">
                  <c:v>0.21200061384242316</c:v>
                </c:pt>
                <c:pt idx="9">
                  <c:v>0.11609279258285989</c:v>
                </c:pt>
                <c:pt idx="10">
                  <c:v>6.050087305419988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1.0401641215212906E-2</c:v>
                </c:pt>
                <c:pt idx="4">
                  <c:v>2.5501673259900166E-3</c:v>
                </c:pt>
                <c:pt idx="5">
                  <c:v>3.5556965300212423E-3</c:v>
                </c:pt>
                <c:pt idx="6">
                  <c:v>1.7860739078562468E-3</c:v>
                </c:pt>
                <c:pt idx="7">
                  <c:v>4.2072883066502989E-3</c:v>
                </c:pt>
                <c:pt idx="8">
                  <c:v>1.2870907741153095E-3</c:v>
                </c:pt>
                <c:pt idx="9">
                  <c:v>2.435842119285573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1541257537623539E-2</c:v>
                </c:pt>
                <c:pt idx="1">
                  <c:v>9.117305413480924E-3</c:v>
                </c:pt>
                <c:pt idx="2">
                  <c:v>1.6301635329842315E-2</c:v>
                </c:pt>
                <c:pt idx="3">
                  <c:v>1.2411255521436126E-2</c:v>
                </c:pt>
                <c:pt idx="4">
                  <c:v>5.219875481715807E-2</c:v>
                </c:pt>
                <c:pt idx="5">
                  <c:v>9.1798095526811688E-2</c:v>
                </c:pt>
                <c:pt idx="6">
                  <c:v>0.20263346870495211</c:v>
                </c:pt>
                <c:pt idx="7">
                  <c:v>0.15958441887694685</c:v>
                </c:pt>
                <c:pt idx="8">
                  <c:v>0.3649632933266263</c:v>
                </c:pt>
                <c:pt idx="9">
                  <c:v>7.9450514945122119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22923696978769E-2</c:v>
                </c:pt>
                <c:pt idx="1">
                  <c:v>3.4208146091019583E-2</c:v>
                </c:pt>
                <c:pt idx="2">
                  <c:v>4.638899137720838E-2</c:v>
                </c:pt>
                <c:pt idx="3">
                  <c:v>4.2363038609228514E-2</c:v>
                </c:pt>
                <c:pt idx="4">
                  <c:v>7.3599001227352398E-2</c:v>
                </c:pt>
                <c:pt idx="5">
                  <c:v>0.21666215265832334</c:v>
                </c:pt>
                <c:pt idx="6">
                  <c:v>0.35850197330543981</c:v>
                </c:pt>
                <c:pt idx="7">
                  <c:v>0.11680761238296965</c:v>
                </c:pt>
                <c:pt idx="8">
                  <c:v>4.7250813869102577E-2</c:v>
                </c:pt>
                <c:pt idx="9">
                  <c:v>2.298885181058734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3220514636903894E-2</c:v>
                </c:pt>
                <c:pt idx="1">
                  <c:v>1.2441037528871992E-2</c:v>
                </c:pt>
                <c:pt idx="2">
                  <c:v>8.7624574801509106E-2</c:v>
                </c:pt>
                <c:pt idx="3">
                  <c:v>3.028285437437974E-2</c:v>
                </c:pt>
                <c:pt idx="4">
                  <c:v>0.14027776593737548</c:v>
                </c:pt>
                <c:pt idx="5">
                  <c:v>0.28950622024873895</c:v>
                </c:pt>
                <c:pt idx="6">
                  <c:v>0.21798642705429877</c:v>
                </c:pt>
                <c:pt idx="7">
                  <c:v>5.6581598744397013E-2</c:v>
                </c:pt>
                <c:pt idx="8">
                  <c:v>9.882715982471646E-2</c:v>
                </c:pt>
                <c:pt idx="9">
                  <c:v>1.325184684880861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1847693416567171E-2</c:v>
                </c:pt>
                <c:pt idx="1">
                  <c:v>8.6420771688770298E-2</c:v>
                </c:pt>
                <c:pt idx="2">
                  <c:v>1.497950272481768E-2</c:v>
                </c:pt>
                <c:pt idx="3">
                  <c:v>3.8435745481682639E-2</c:v>
                </c:pt>
                <c:pt idx="4">
                  <c:v>9.2213614362690724E-2</c:v>
                </c:pt>
                <c:pt idx="5">
                  <c:v>0.23543198442819935</c:v>
                </c:pt>
                <c:pt idx="6">
                  <c:v>0.18117729862300255</c:v>
                </c:pt>
                <c:pt idx="7">
                  <c:v>0.20368518910803782</c:v>
                </c:pt>
                <c:pt idx="8">
                  <c:v>9.7217979514334779E-2</c:v>
                </c:pt>
                <c:pt idx="9">
                  <c:v>2.859022065189690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9496267520693014</c:v>
                </c:pt>
                <c:pt idx="1">
                  <c:v>1.2898882045537288E-2</c:v>
                </c:pt>
                <c:pt idx="2">
                  <c:v>1.7946845665942627E-2</c:v>
                </c:pt>
                <c:pt idx="3">
                  <c:v>2.9438823787704141E-2</c:v>
                </c:pt>
                <c:pt idx="4">
                  <c:v>9.6520940868899327E-2</c:v>
                </c:pt>
                <c:pt idx="5">
                  <c:v>8.4411859545073936E-2</c:v>
                </c:pt>
                <c:pt idx="6">
                  <c:v>0.18500629086262083</c:v>
                </c:pt>
                <c:pt idx="7">
                  <c:v>0.25423137173567506</c:v>
                </c:pt>
                <c:pt idx="8">
                  <c:v>0.10018099339047251</c:v>
                </c:pt>
                <c:pt idx="9">
                  <c:v>2.0525372145960695E-2</c:v>
                </c:pt>
                <c:pt idx="10">
                  <c:v>3.8759447451834806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166140754915016E-2</c:v>
                </c:pt>
                <c:pt idx="1">
                  <c:v>1.5633277822468455E-2</c:v>
                </c:pt>
                <c:pt idx="2">
                  <c:v>2.8142038356699532E-2</c:v>
                </c:pt>
                <c:pt idx="3">
                  <c:v>6.0911867845577033E-2</c:v>
                </c:pt>
                <c:pt idx="4">
                  <c:v>9.3166401312493333E-2</c:v>
                </c:pt>
                <c:pt idx="5">
                  <c:v>9.3267342556455732E-2</c:v>
                </c:pt>
                <c:pt idx="6">
                  <c:v>0.10621791691026569</c:v>
                </c:pt>
                <c:pt idx="7">
                  <c:v>0.17286318021440519</c:v>
                </c:pt>
                <c:pt idx="8">
                  <c:v>0.1708689325128169</c:v>
                </c:pt>
                <c:pt idx="9">
                  <c:v>0.13656175115690375</c:v>
                </c:pt>
                <c:pt idx="10">
                  <c:v>5.820115055699940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25131734248297161</c:v>
                </c:pt>
                <c:pt idx="1">
                  <c:v>2.3995313180558159E-2</c:v>
                </c:pt>
                <c:pt idx="2">
                  <c:v>1.7913651730790934E-2</c:v>
                </c:pt>
                <c:pt idx="3">
                  <c:v>4.7597097714130857E-2</c:v>
                </c:pt>
                <c:pt idx="4">
                  <c:v>9.651889967226962E-2</c:v>
                </c:pt>
                <c:pt idx="5">
                  <c:v>0.11494751174683013</c:v>
                </c:pt>
                <c:pt idx="6">
                  <c:v>0.17365993639694652</c:v>
                </c:pt>
                <c:pt idx="7">
                  <c:v>0.17952376942204423</c:v>
                </c:pt>
                <c:pt idx="8">
                  <c:v>8.2893600058558198E-2</c:v>
                </c:pt>
                <c:pt idx="9">
                  <c:v>1.0852694598812915E-2</c:v>
                </c:pt>
                <c:pt idx="10">
                  <c:v>7.801829960868735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1134487526752247</c:v>
                </c:pt>
                <c:pt idx="1">
                  <c:v>8.6388730647585267E-3</c:v>
                </c:pt>
                <c:pt idx="2">
                  <c:v>7.0231276717453266E-3</c:v>
                </c:pt>
                <c:pt idx="3">
                  <c:v>2.7029708298252682E-2</c:v>
                </c:pt>
                <c:pt idx="4">
                  <c:v>9.9634202523714965E-2</c:v>
                </c:pt>
                <c:pt idx="5">
                  <c:v>8.093983357307101E-2</c:v>
                </c:pt>
                <c:pt idx="6">
                  <c:v>0.20959900182304106</c:v>
                </c:pt>
                <c:pt idx="7">
                  <c:v>0.23816393941505132</c:v>
                </c:pt>
                <c:pt idx="8">
                  <c:v>0.1377539702635304</c:v>
                </c:pt>
                <c:pt idx="9">
                  <c:v>6.5697004068989789E-2</c:v>
                </c:pt>
                <c:pt idx="10">
                  <c:v>1.4175464030322502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452095700271858E-2</c:v>
                </c:pt>
                <c:pt idx="1">
                  <c:v>6.9038415366902443E-3</c:v>
                </c:pt>
                <c:pt idx="2">
                  <c:v>3.8993138108884502E-2</c:v>
                </c:pt>
                <c:pt idx="3">
                  <c:v>9.2885754275378318E-2</c:v>
                </c:pt>
                <c:pt idx="4">
                  <c:v>0.12661389106941554</c:v>
                </c:pt>
                <c:pt idx="5">
                  <c:v>0.14139828617238459</c:v>
                </c:pt>
                <c:pt idx="6">
                  <c:v>8.327672553420401E-2</c:v>
                </c:pt>
                <c:pt idx="7">
                  <c:v>0.25943750265456544</c:v>
                </c:pt>
                <c:pt idx="8">
                  <c:v>0.16769832304927204</c:v>
                </c:pt>
                <c:pt idx="9">
                  <c:v>5.0813195599909045E-2</c:v>
                </c:pt>
                <c:pt idx="10">
                  <c:v>3.5272462990244605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8.2060798596221757E-2</c:v>
                </c:pt>
                <c:pt idx="4">
                  <c:v>1.3735802625934962E-2</c:v>
                </c:pt>
                <c:pt idx="5">
                  <c:v>6.1588706809217263E-2</c:v>
                </c:pt>
                <c:pt idx="6">
                  <c:v>2.3195070431785789E-2</c:v>
                </c:pt>
                <c:pt idx="7">
                  <c:v>5.9000565638160689E-2</c:v>
                </c:pt>
                <c:pt idx="8">
                  <c:v>2.4630784631086092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613377585847987E-2</c:v>
                </c:pt>
                <c:pt idx="1">
                  <c:v>1.56302030123537E-2</c:v>
                </c:pt>
                <c:pt idx="2">
                  <c:v>3.5294981321742719E-2</c:v>
                </c:pt>
                <c:pt idx="3">
                  <c:v>0.17153808610810198</c:v>
                </c:pt>
                <c:pt idx="4">
                  <c:v>0.13353047605469773</c:v>
                </c:pt>
                <c:pt idx="5">
                  <c:v>0.12917153792881839</c:v>
                </c:pt>
                <c:pt idx="6">
                  <c:v>7.2507313656684891E-2</c:v>
                </c:pt>
                <c:pt idx="7">
                  <c:v>0.21110141717184974</c:v>
                </c:pt>
                <c:pt idx="8">
                  <c:v>0.1733531988133058</c:v>
                </c:pt>
                <c:pt idx="9">
                  <c:v>1.9940538619508948E-2</c:v>
                </c:pt>
                <c:pt idx="10">
                  <c:v>9.3188697270881003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13356059179014013</c:v>
                </c:pt>
                <c:pt idx="4">
                  <c:v>3.2745011116607166E-2</c:v>
                </c:pt>
                <c:pt idx="5">
                  <c:v>4.5656346239016515E-2</c:v>
                </c:pt>
                <c:pt idx="6">
                  <c:v>2.2933793156152984E-2</c:v>
                </c:pt>
                <c:pt idx="7">
                  <c:v>5.3053670560782258E-2</c:v>
                </c:pt>
                <c:pt idx="8">
                  <c:v>1.6505258068993306E-2</c:v>
                </c:pt>
                <c:pt idx="9">
                  <c:v>1.480468372668552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9437627523840919E-2</c:v>
                </c:pt>
                <c:pt idx="1">
                  <c:v>1.7339094554510329E-2</c:v>
                </c:pt>
                <c:pt idx="2">
                  <c:v>4.8088716519655232E-2</c:v>
                </c:pt>
                <c:pt idx="3">
                  <c:v>0.20562364600569663</c:v>
                </c:pt>
                <c:pt idx="4">
                  <c:v>6.6748547419724566E-2</c:v>
                </c:pt>
                <c:pt idx="5">
                  <c:v>0.12200576981432011</c:v>
                </c:pt>
                <c:pt idx="6">
                  <c:v>4.6184937163428488E-2</c:v>
                </c:pt>
                <c:pt idx="7">
                  <c:v>0.2232454479683828</c:v>
                </c:pt>
                <c:pt idx="8">
                  <c:v>0.15135974545254935</c:v>
                </c:pt>
                <c:pt idx="9">
                  <c:v>8.959978013454500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8.5550442632668141E-4</c:v>
                </c:pt>
                <c:pt idx="3">
                  <c:v>4.304477539612479E-3</c:v>
                </c:pt>
                <c:pt idx="4">
                  <c:v>2.4980006403108098E-3</c:v>
                </c:pt>
                <c:pt idx="5">
                  <c:v>1.8944437177037627E-3</c:v>
                </c:pt>
                <c:pt idx="6">
                  <c:v>5.6868615607233788E-4</c:v>
                </c:pt>
                <c:pt idx="7">
                  <c:v>4.9260466444770246E-3</c:v>
                </c:pt>
                <c:pt idx="8">
                  <c:v>7.6316899488346971E-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9433076220715705E-3</c:v>
                </c:pt>
                <c:pt idx="2">
                  <c:v>1.5808316239147732E-2</c:v>
                </c:pt>
                <c:pt idx="3">
                  <c:v>7.9539672848540577E-2</c:v>
                </c:pt>
                <c:pt idx="4">
                  <c:v>4.6158947718345923E-2</c:v>
                </c:pt>
                <c:pt idx="5">
                  <c:v>3.5006207408320195E-2</c:v>
                </c:pt>
                <c:pt idx="6">
                  <c:v>1.0506928851688921E-2</c:v>
                </c:pt>
                <c:pt idx="7">
                  <c:v>9.1024631772222628E-2</c:v>
                </c:pt>
                <c:pt idx="8">
                  <c:v>1.4093734792729056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4769638345262747E-2</c:v>
                </c:pt>
                <c:pt idx="2">
                  <c:v>2.317484993668747E-3</c:v>
                </c:pt>
                <c:pt idx="3">
                  <c:v>5.4889790522628559E-2</c:v>
                </c:pt>
                <c:pt idx="4">
                  <c:v>2.1417360193585859E-2</c:v>
                </c:pt>
                <c:pt idx="5">
                  <c:v>5.4955204292333013E-2</c:v>
                </c:pt>
                <c:pt idx="6">
                  <c:v>0.14927649358998393</c:v>
                </c:pt>
                <c:pt idx="7">
                  <c:v>0.13228898853114029</c:v>
                </c:pt>
                <c:pt idx="8">
                  <c:v>0.31299544147474445</c:v>
                </c:pt>
                <c:pt idx="9">
                  <c:v>0.14351406891192672</c:v>
                </c:pt>
                <c:pt idx="10">
                  <c:v>0.1132503095121440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0921024996954196E-3</c:v>
                </c:pt>
                <c:pt idx="1">
                  <c:v>2.2013794513369753E-2</c:v>
                </c:pt>
                <c:pt idx="2">
                  <c:v>6.0164729451450899E-3</c:v>
                </c:pt>
                <c:pt idx="3">
                  <c:v>5.9948371208162959E-2</c:v>
                </c:pt>
                <c:pt idx="4">
                  <c:v>2.3502461461467138E-2</c:v>
                </c:pt>
                <c:pt idx="5">
                  <c:v>7.9254515665220515E-2</c:v>
                </c:pt>
                <c:pt idx="6">
                  <c:v>0.10057809753875296</c:v>
                </c:pt>
                <c:pt idx="7">
                  <c:v>0.25267661121730911</c:v>
                </c:pt>
                <c:pt idx="8">
                  <c:v>0.2504997063205352</c:v>
                </c:pt>
                <c:pt idx="9">
                  <c:v>0.15719468225499189</c:v>
                </c:pt>
                <c:pt idx="10">
                  <c:v>4.722318437535000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4.4188407897627199E-3</c:v>
                </c:pt>
                <c:pt idx="2">
                  <c:v>5.8871389526296255E-3</c:v>
                </c:pt>
                <c:pt idx="3">
                  <c:v>7.5686671135798342E-2</c:v>
                </c:pt>
                <c:pt idx="4">
                  <c:v>2.5428611936749682E-2</c:v>
                </c:pt>
                <c:pt idx="5">
                  <c:v>9.4776620778599371E-2</c:v>
                </c:pt>
                <c:pt idx="6">
                  <c:v>0.12887654807889964</c:v>
                </c:pt>
                <c:pt idx="7">
                  <c:v>0.13424372682216842</c:v>
                </c:pt>
                <c:pt idx="8">
                  <c:v>0.32910093090770842</c:v>
                </c:pt>
                <c:pt idx="9">
                  <c:v>0.10837235929418876</c:v>
                </c:pt>
                <c:pt idx="10">
                  <c:v>9.2823812325098912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249600353817023E-3</c:v>
                </c:pt>
                <c:pt idx="1">
                  <c:v>1.2443923938520774E-2</c:v>
                </c:pt>
                <c:pt idx="2">
                  <c:v>1.6670401236197788E-2</c:v>
                </c:pt>
                <c:pt idx="3">
                  <c:v>4.5334745033686293E-2</c:v>
                </c:pt>
                <c:pt idx="4">
                  <c:v>6.0531542297092004E-2</c:v>
                </c:pt>
                <c:pt idx="5">
                  <c:v>6.7423599896182268E-2</c:v>
                </c:pt>
                <c:pt idx="6">
                  <c:v>0.10550384936561592</c:v>
                </c:pt>
                <c:pt idx="7">
                  <c:v>0.20935329812945264</c:v>
                </c:pt>
                <c:pt idx="8">
                  <c:v>0.18200643392867144</c:v>
                </c:pt>
                <c:pt idx="9">
                  <c:v>5.0943431632022196E-2</c:v>
                </c:pt>
                <c:pt idx="10">
                  <c:v>0.2433638145071770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2664777716174217E-2</c:v>
                </c:pt>
                <c:pt idx="1">
                  <c:v>1.455215005945285E-2</c:v>
                </c:pt>
                <c:pt idx="2">
                  <c:v>3.1793157987583059E-2</c:v>
                </c:pt>
                <c:pt idx="3">
                  <c:v>4.8197250418922831E-2</c:v>
                </c:pt>
                <c:pt idx="4">
                  <c:v>3.6172401739128744E-2</c:v>
                </c:pt>
                <c:pt idx="5">
                  <c:v>0.10756737889583759</c:v>
                </c:pt>
                <c:pt idx="6">
                  <c:v>0.1437797360274827</c:v>
                </c:pt>
                <c:pt idx="7">
                  <c:v>0.16541094068946494</c:v>
                </c:pt>
                <c:pt idx="8">
                  <c:v>0.17248314445239338</c:v>
                </c:pt>
                <c:pt idx="9">
                  <c:v>0.20438488641867086</c:v>
                </c:pt>
                <c:pt idx="10">
                  <c:v>6.299417559488881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2075590602913538E-2</c:v>
                </c:pt>
                <c:pt idx="1">
                  <c:v>1.639080822621522E-2</c:v>
                </c:pt>
                <c:pt idx="2">
                  <c:v>2.8305055337770453E-2</c:v>
                </c:pt>
                <c:pt idx="3">
                  <c:v>4.2299900341770766E-2</c:v>
                </c:pt>
                <c:pt idx="4">
                  <c:v>8.7002200153398351E-2</c:v>
                </c:pt>
                <c:pt idx="5">
                  <c:v>9.608248837393922E-2</c:v>
                </c:pt>
                <c:pt idx="6">
                  <c:v>0.11481066318864561</c:v>
                </c:pt>
                <c:pt idx="7">
                  <c:v>0.16443901429586391</c:v>
                </c:pt>
                <c:pt idx="8">
                  <c:v>0.21200061384242316</c:v>
                </c:pt>
                <c:pt idx="9">
                  <c:v>0.11609279258285989</c:v>
                </c:pt>
                <c:pt idx="10">
                  <c:v>6.050087305419988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592531584901567E-3</c:v>
                </c:pt>
                <c:pt idx="1">
                  <c:v>3.9365746906015022E-3</c:v>
                </c:pt>
                <c:pt idx="2">
                  <c:v>2.0756412271314948E-2</c:v>
                </c:pt>
                <c:pt idx="3">
                  <c:v>9.2991716400437199E-2</c:v>
                </c:pt>
                <c:pt idx="4">
                  <c:v>2.4277269541755013E-2</c:v>
                </c:pt>
                <c:pt idx="5">
                  <c:v>8.0415999435181115E-2</c:v>
                </c:pt>
                <c:pt idx="6">
                  <c:v>0.11774145970678358</c:v>
                </c:pt>
                <c:pt idx="7">
                  <c:v>0.21111395390431634</c:v>
                </c:pt>
                <c:pt idx="8">
                  <c:v>0.14924836341310024</c:v>
                </c:pt>
                <c:pt idx="9">
                  <c:v>0.13462867849848958</c:v>
                </c:pt>
                <c:pt idx="10">
                  <c:v>0.160730318979530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2344219405181581E-2</c:v>
                </c:pt>
                <c:pt idx="1">
                  <c:v>1.8525575310990968E-2</c:v>
                </c:pt>
                <c:pt idx="2">
                  <c:v>1.0830848402378098E-2</c:v>
                </c:pt>
                <c:pt idx="3">
                  <c:v>1.3091761934090175E-2</c:v>
                </c:pt>
                <c:pt idx="4">
                  <c:v>2.2727357841393021E-2</c:v>
                </c:pt>
                <c:pt idx="5">
                  <c:v>0.15249326265147259</c:v>
                </c:pt>
                <c:pt idx="6">
                  <c:v>0.13267291400029826</c:v>
                </c:pt>
                <c:pt idx="7">
                  <c:v>0.14714524172169652</c:v>
                </c:pt>
                <c:pt idx="8">
                  <c:v>0.27503709972378243</c:v>
                </c:pt>
                <c:pt idx="9">
                  <c:v>0.18376269779339161</c:v>
                </c:pt>
                <c:pt idx="10">
                  <c:v>2.136902121532473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72656352017654E-2</c:v>
                </c:pt>
                <c:pt idx="1">
                  <c:v>2.3212152827471175E-2</c:v>
                </c:pt>
                <c:pt idx="2">
                  <c:v>9.5276320472047864E-3</c:v>
                </c:pt>
                <c:pt idx="3">
                  <c:v>2.0834565919059692E-2</c:v>
                </c:pt>
                <c:pt idx="4">
                  <c:v>5.6280952496327273E-2</c:v>
                </c:pt>
                <c:pt idx="5">
                  <c:v>0.14858554007140801</c:v>
                </c:pt>
                <c:pt idx="6">
                  <c:v>0.13431405689832426</c:v>
                </c:pt>
                <c:pt idx="7">
                  <c:v>0.17459164325638374</c:v>
                </c:pt>
                <c:pt idx="8">
                  <c:v>0.24859878263049723</c:v>
                </c:pt>
                <c:pt idx="9">
                  <c:v>0.15784269013818411</c:v>
                </c:pt>
                <c:pt idx="10">
                  <c:v>6.439327363122094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1918174965397519E-2</c:v>
                </c:pt>
                <c:pt idx="1">
                  <c:v>7.2063106135973071E-3</c:v>
                </c:pt>
                <c:pt idx="2">
                  <c:v>7.4454837871766096E-3</c:v>
                </c:pt>
                <c:pt idx="3">
                  <c:v>1.292014843570851E-2</c:v>
                </c:pt>
                <c:pt idx="4">
                  <c:v>6.6563239755059123E-2</c:v>
                </c:pt>
                <c:pt idx="5">
                  <c:v>0.16102300693596588</c:v>
                </c:pt>
                <c:pt idx="6">
                  <c:v>0.13290516588104634</c:v>
                </c:pt>
                <c:pt idx="7">
                  <c:v>0.17400543608853142</c:v>
                </c:pt>
                <c:pt idx="8">
                  <c:v>0.20826118401731084</c:v>
                </c:pt>
                <c:pt idx="9">
                  <c:v>0.12870129858787954</c:v>
                </c:pt>
                <c:pt idx="10">
                  <c:v>6.905055093232685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3963418572699626E-2</c:v>
                </c:pt>
                <c:pt idx="1">
                  <c:v>2.1724384786094904E-2</c:v>
                </c:pt>
                <c:pt idx="2">
                  <c:v>4.1414606767385245E-2</c:v>
                </c:pt>
                <c:pt idx="3">
                  <c:v>2.1675870432187948E-2</c:v>
                </c:pt>
                <c:pt idx="4">
                  <c:v>5.2576267878937134E-2</c:v>
                </c:pt>
                <c:pt idx="5">
                  <c:v>6.372480657963811E-2</c:v>
                </c:pt>
                <c:pt idx="6">
                  <c:v>0.13090576767225237</c:v>
                </c:pt>
                <c:pt idx="7">
                  <c:v>0.17797195797908866</c:v>
                </c:pt>
                <c:pt idx="8">
                  <c:v>0.38160066799202275</c:v>
                </c:pt>
                <c:pt idx="9">
                  <c:v>7.1611015796664484E-2</c:v>
                </c:pt>
                <c:pt idx="10">
                  <c:v>2.8312355430287787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3.027130699712801E-3</c:v>
                </c:pt>
                <c:pt idx="6">
                  <c:v>1.0604486537568623E-3</c:v>
                </c:pt>
                <c:pt idx="7">
                  <c:v>2.3716758350342034E-3</c:v>
                </c:pt>
                <c:pt idx="8">
                  <c:v>6.0711672576997363E-3</c:v>
                </c:pt>
                <c:pt idx="9">
                  <c:v>6.234800731188243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6578369953938744E-2</c:v>
                </c:pt>
                <c:pt idx="1">
                  <c:v>3.9748049335277494E-2</c:v>
                </c:pt>
                <c:pt idx="2">
                  <c:v>3.6152583544337216E-2</c:v>
                </c:pt>
                <c:pt idx="3">
                  <c:v>2.5469849750860741E-2</c:v>
                </c:pt>
                <c:pt idx="4">
                  <c:v>6.4813880382745381E-2</c:v>
                </c:pt>
                <c:pt idx="5">
                  <c:v>8.5197700245182306E-2</c:v>
                </c:pt>
                <c:pt idx="6">
                  <c:v>0.17447621527054125</c:v>
                </c:pt>
                <c:pt idx="7">
                  <c:v>0.20259246306990597</c:v>
                </c:pt>
                <c:pt idx="8">
                  <c:v>0.20923515941614845</c:v>
                </c:pt>
                <c:pt idx="9">
                  <c:v>0.10072276476360653</c:v>
                </c:pt>
                <c:pt idx="10">
                  <c:v>5.0129642674558942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1541257537623539E-2</c:v>
                </c:pt>
                <c:pt idx="1">
                  <c:v>9.117305413480924E-3</c:v>
                </c:pt>
                <c:pt idx="2">
                  <c:v>1.6301635329842315E-2</c:v>
                </c:pt>
                <c:pt idx="3">
                  <c:v>1.2411255521436126E-2</c:v>
                </c:pt>
                <c:pt idx="4">
                  <c:v>5.219875481715807E-2</c:v>
                </c:pt>
                <c:pt idx="5">
                  <c:v>9.1798095526811688E-2</c:v>
                </c:pt>
                <c:pt idx="6">
                  <c:v>0.20263346870495211</c:v>
                </c:pt>
                <c:pt idx="7">
                  <c:v>0.15958441887694685</c:v>
                </c:pt>
                <c:pt idx="8">
                  <c:v>0.3649632933266263</c:v>
                </c:pt>
                <c:pt idx="9">
                  <c:v>7.9450514945122119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22923696978769E-2</c:v>
                </c:pt>
                <c:pt idx="1">
                  <c:v>3.4208146091019583E-2</c:v>
                </c:pt>
                <c:pt idx="2">
                  <c:v>4.638899137720838E-2</c:v>
                </c:pt>
                <c:pt idx="3">
                  <c:v>4.2363038609228514E-2</c:v>
                </c:pt>
                <c:pt idx="4">
                  <c:v>7.3599001227352398E-2</c:v>
                </c:pt>
                <c:pt idx="5">
                  <c:v>0.21666215265832334</c:v>
                </c:pt>
                <c:pt idx="6">
                  <c:v>0.35850197330543981</c:v>
                </c:pt>
                <c:pt idx="7">
                  <c:v>0.11680761238296965</c:v>
                </c:pt>
                <c:pt idx="8">
                  <c:v>4.7250813869102577E-2</c:v>
                </c:pt>
                <c:pt idx="9">
                  <c:v>2.298885181058734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3220514636903894E-2</c:v>
                </c:pt>
                <c:pt idx="1">
                  <c:v>1.2441037528871992E-2</c:v>
                </c:pt>
                <c:pt idx="2">
                  <c:v>8.7624574801509106E-2</c:v>
                </c:pt>
                <c:pt idx="3">
                  <c:v>3.028285437437974E-2</c:v>
                </c:pt>
                <c:pt idx="4">
                  <c:v>0.14027776593737548</c:v>
                </c:pt>
                <c:pt idx="5">
                  <c:v>0.28950622024873895</c:v>
                </c:pt>
                <c:pt idx="6">
                  <c:v>0.21798642705429877</c:v>
                </c:pt>
                <c:pt idx="7">
                  <c:v>5.6581598744397013E-2</c:v>
                </c:pt>
                <c:pt idx="8">
                  <c:v>9.882715982471646E-2</c:v>
                </c:pt>
                <c:pt idx="9">
                  <c:v>1.325184684880861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1847693416567171E-2</c:v>
                </c:pt>
                <c:pt idx="1">
                  <c:v>8.6420771688770298E-2</c:v>
                </c:pt>
                <c:pt idx="2">
                  <c:v>1.497950272481768E-2</c:v>
                </c:pt>
                <c:pt idx="3">
                  <c:v>3.8435745481682639E-2</c:v>
                </c:pt>
                <c:pt idx="4">
                  <c:v>9.2213614362690724E-2</c:v>
                </c:pt>
                <c:pt idx="5">
                  <c:v>0.23543198442819935</c:v>
                </c:pt>
                <c:pt idx="6">
                  <c:v>0.18117729862300255</c:v>
                </c:pt>
                <c:pt idx="7">
                  <c:v>0.20368518910803782</c:v>
                </c:pt>
                <c:pt idx="8">
                  <c:v>9.7217979514334779E-2</c:v>
                </c:pt>
                <c:pt idx="9">
                  <c:v>2.859022065189690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069714754673051E-2</c:v>
                </c:pt>
                <c:pt idx="1">
                  <c:v>2.7620932864173206E-2</c:v>
                </c:pt>
                <c:pt idx="2">
                  <c:v>3.321975086399976E-2</c:v>
                </c:pt>
                <c:pt idx="3">
                  <c:v>5.0673883901639509E-2</c:v>
                </c:pt>
                <c:pt idx="4">
                  <c:v>8.0498478937970977E-2</c:v>
                </c:pt>
                <c:pt idx="5">
                  <c:v>0.11300954238676617</c:v>
                </c:pt>
                <c:pt idx="6">
                  <c:v>0.13054828460312656</c:v>
                </c:pt>
                <c:pt idx="7">
                  <c:v>0.16999688993527615</c:v>
                </c:pt>
                <c:pt idx="8">
                  <c:v>0.17596357403605906</c:v>
                </c:pt>
                <c:pt idx="9">
                  <c:v>0.1247508482589552</c:v>
                </c:pt>
                <c:pt idx="10">
                  <c:v>2.30206666653028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9496267520693014</c:v>
                </c:pt>
                <c:pt idx="1">
                  <c:v>1.2898882045537288E-2</c:v>
                </c:pt>
                <c:pt idx="2">
                  <c:v>1.7946845665942627E-2</c:v>
                </c:pt>
                <c:pt idx="3">
                  <c:v>2.9438823787704141E-2</c:v>
                </c:pt>
                <c:pt idx="4">
                  <c:v>9.6520940868899327E-2</c:v>
                </c:pt>
                <c:pt idx="5">
                  <c:v>8.4411859545073936E-2</c:v>
                </c:pt>
                <c:pt idx="6">
                  <c:v>0.18500629086262083</c:v>
                </c:pt>
                <c:pt idx="7">
                  <c:v>0.25423137173567506</c:v>
                </c:pt>
                <c:pt idx="8">
                  <c:v>0.10018099339047251</c:v>
                </c:pt>
                <c:pt idx="9">
                  <c:v>2.0525372145960695E-2</c:v>
                </c:pt>
                <c:pt idx="10">
                  <c:v>3.8759447451834806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25131734248297161</c:v>
                </c:pt>
                <c:pt idx="1">
                  <c:v>2.3995313180558159E-2</c:v>
                </c:pt>
                <c:pt idx="2">
                  <c:v>1.7913651730790934E-2</c:v>
                </c:pt>
                <c:pt idx="3">
                  <c:v>4.7597097714130857E-2</c:v>
                </c:pt>
                <c:pt idx="4">
                  <c:v>9.651889967226962E-2</c:v>
                </c:pt>
                <c:pt idx="5">
                  <c:v>0.11494751174683013</c:v>
                </c:pt>
                <c:pt idx="6">
                  <c:v>0.17365993639694652</c:v>
                </c:pt>
                <c:pt idx="7">
                  <c:v>0.17952376942204423</c:v>
                </c:pt>
                <c:pt idx="8">
                  <c:v>8.2893600058558198E-2</c:v>
                </c:pt>
                <c:pt idx="9">
                  <c:v>1.0852694598812915E-2</c:v>
                </c:pt>
                <c:pt idx="10">
                  <c:v>7.801829960868735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1134487526752247</c:v>
                </c:pt>
                <c:pt idx="1">
                  <c:v>8.6388730647585267E-3</c:v>
                </c:pt>
                <c:pt idx="2">
                  <c:v>7.0231276717453266E-3</c:v>
                </c:pt>
                <c:pt idx="3">
                  <c:v>2.7029708298252682E-2</c:v>
                </c:pt>
                <c:pt idx="4">
                  <c:v>9.9634202523714965E-2</c:v>
                </c:pt>
                <c:pt idx="5">
                  <c:v>8.093983357307101E-2</c:v>
                </c:pt>
                <c:pt idx="6">
                  <c:v>0.20959900182304106</c:v>
                </c:pt>
                <c:pt idx="7">
                  <c:v>0.23816393941505132</c:v>
                </c:pt>
                <c:pt idx="8">
                  <c:v>0.1377539702635304</c:v>
                </c:pt>
                <c:pt idx="9">
                  <c:v>6.5697004068989789E-2</c:v>
                </c:pt>
                <c:pt idx="10">
                  <c:v>1.4175464030322502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452095700271858E-2</c:v>
                </c:pt>
                <c:pt idx="1">
                  <c:v>6.9038415366902443E-3</c:v>
                </c:pt>
                <c:pt idx="2">
                  <c:v>3.8993138108884502E-2</c:v>
                </c:pt>
                <c:pt idx="3">
                  <c:v>9.2885754275378318E-2</c:v>
                </c:pt>
                <c:pt idx="4">
                  <c:v>0.12661389106941554</c:v>
                </c:pt>
                <c:pt idx="5">
                  <c:v>0.14139828617238459</c:v>
                </c:pt>
                <c:pt idx="6">
                  <c:v>8.327672553420401E-2</c:v>
                </c:pt>
                <c:pt idx="7">
                  <c:v>0.25943750265456544</c:v>
                </c:pt>
                <c:pt idx="8">
                  <c:v>0.16769832304927204</c:v>
                </c:pt>
                <c:pt idx="9">
                  <c:v>5.0813195599909045E-2</c:v>
                </c:pt>
                <c:pt idx="10">
                  <c:v>3.5272462990244605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613377585847987E-2</c:v>
                </c:pt>
                <c:pt idx="1">
                  <c:v>1.56302030123537E-2</c:v>
                </c:pt>
                <c:pt idx="2">
                  <c:v>3.5294981321742719E-2</c:v>
                </c:pt>
                <c:pt idx="3">
                  <c:v>0.17153808610810198</c:v>
                </c:pt>
                <c:pt idx="4">
                  <c:v>0.13353047605469773</c:v>
                </c:pt>
                <c:pt idx="5">
                  <c:v>0.12917153792881839</c:v>
                </c:pt>
                <c:pt idx="6">
                  <c:v>7.2507313656684891E-2</c:v>
                </c:pt>
                <c:pt idx="7">
                  <c:v>0.21110141717184974</c:v>
                </c:pt>
                <c:pt idx="8">
                  <c:v>0.1733531988133058</c:v>
                </c:pt>
                <c:pt idx="9">
                  <c:v>1.9940538619508948E-2</c:v>
                </c:pt>
                <c:pt idx="10">
                  <c:v>9.3188697270881003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2.4172512273142985E-3</c:v>
                </c:pt>
                <c:pt idx="6">
                  <c:v>2.4872310522562045E-3</c:v>
                </c:pt>
                <c:pt idx="7">
                  <c:v>4.6678336585636963E-3</c:v>
                </c:pt>
                <c:pt idx="8">
                  <c:v>5.3888630087720879E-3</c:v>
                </c:pt>
                <c:pt idx="9">
                  <c:v>8.2185788783270053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9437627523840919E-2</c:v>
                </c:pt>
                <c:pt idx="1">
                  <c:v>1.7339094554510329E-2</c:v>
                </c:pt>
                <c:pt idx="2">
                  <c:v>4.8088716519655232E-2</c:v>
                </c:pt>
                <c:pt idx="3">
                  <c:v>0.20562364600569663</c:v>
                </c:pt>
                <c:pt idx="4">
                  <c:v>6.6748547419724566E-2</c:v>
                </c:pt>
                <c:pt idx="5">
                  <c:v>0.12200576981432011</c:v>
                </c:pt>
                <c:pt idx="6">
                  <c:v>4.6184937163428488E-2</c:v>
                </c:pt>
                <c:pt idx="7">
                  <c:v>0.2232454479683828</c:v>
                </c:pt>
                <c:pt idx="8">
                  <c:v>0.15135974545254935</c:v>
                </c:pt>
                <c:pt idx="9">
                  <c:v>8.959978013454500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4769638345262747E-2</c:v>
                </c:pt>
                <c:pt idx="2">
                  <c:v>2.317484993668747E-3</c:v>
                </c:pt>
                <c:pt idx="3">
                  <c:v>5.4889790522628559E-2</c:v>
                </c:pt>
                <c:pt idx="4">
                  <c:v>2.1417360193585859E-2</c:v>
                </c:pt>
                <c:pt idx="5">
                  <c:v>5.4955204292333013E-2</c:v>
                </c:pt>
                <c:pt idx="6">
                  <c:v>0.14927649358998393</c:v>
                </c:pt>
                <c:pt idx="7">
                  <c:v>0.13228898853114029</c:v>
                </c:pt>
                <c:pt idx="8">
                  <c:v>0.31299544147474445</c:v>
                </c:pt>
                <c:pt idx="9">
                  <c:v>0.14351406891192672</c:v>
                </c:pt>
                <c:pt idx="10">
                  <c:v>0.1132503095121440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8.6256453129647838E-3</c:v>
                </c:pt>
                <c:pt idx="6">
                  <c:v>1.1454911291099035E-2</c:v>
                </c:pt>
                <c:pt idx="7">
                  <c:v>2.2883483224079806E-2</c:v>
                </c:pt>
                <c:pt idx="8">
                  <c:v>5.3296031196739709E-2</c:v>
                </c:pt>
                <c:pt idx="9">
                  <c:v>7.2520189866062349E-3</c:v>
                </c:pt>
                <c:pt idx="10">
                  <c:v>8.013164346853945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0921024996954196E-3</c:v>
                </c:pt>
                <c:pt idx="1">
                  <c:v>2.2013794513369753E-2</c:v>
                </c:pt>
                <c:pt idx="2">
                  <c:v>6.0164729451450899E-3</c:v>
                </c:pt>
                <c:pt idx="3">
                  <c:v>5.9948371208162959E-2</c:v>
                </c:pt>
                <c:pt idx="4">
                  <c:v>2.3502461461467138E-2</c:v>
                </c:pt>
                <c:pt idx="5">
                  <c:v>7.9254515665220515E-2</c:v>
                </c:pt>
                <c:pt idx="6">
                  <c:v>0.10057809753875296</c:v>
                </c:pt>
                <c:pt idx="7">
                  <c:v>0.25267661121730911</c:v>
                </c:pt>
                <c:pt idx="8">
                  <c:v>0.2504997063205352</c:v>
                </c:pt>
                <c:pt idx="9">
                  <c:v>0.15719468225499189</c:v>
                </c:pt>
                <c:pt idx="10">
                  <c:v>4.722318437535000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4.3846185497573254E-3</c:v>
                </c:pt>
                <c:pt idx="6">
                  <c:v>1.6601237523760515E-2</c:v>
                </c:pt>
                <c:pt idx="7">
                  <c:v>4.2002967665951234E-2</c:v>
                </c:pt>
                <c:pt idx="8">
                  <c:v>3.5748879507964147E-2</c:v>
                </c:pt>
                <c:pt idx="9">
                  <c:v>8.9923057186475225E-3</c:v>
                </c:pt>
                <c:pt idx="10">
                  <c:v>1.0766087690494593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4.4188407897627199E-3</c:v>
                </c:pt>
                <c:pt idx="2">
                  <c:v>5.8871389526296255E-3</c:v>
                </c:pt>
                <c:pt idx="3">
                  <c:v>7.5686671135798342E-2</c:v>
                </c:pt>
                <c:pt idx="4">
                  <c:v>2.5428611936749682E-2</c:v>
                </c:pt>
                <c:pt idx="5">
                  <c:v>9.4776620778599371E-2</c:v>
                </c:pt>
                <c:pt idx="6">
                  <c:v>0.12887654807889964</c:v>
                </c:pt>
                <c:pt idx="7">
                  <c:v>0.13424372682216842</c:v>
                </c:pt>
                <c:pt idx="8">
                  <c:v>0.32910093090770842</c:v>
                </c:pt>
                <c:pt idx="9">
                  <c:v>0.10837235929418876</c:v>
                </c:pt>
                <c:pt idx="10">
                  <c:v>9.2823812325098912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1.8966274896647383E-2</c:v>
                </c:pt>
                <c:pt idx="6">
                  <c:v>1.7261910588526542E-2</c:v>
                </c:pt>
                <c:pt idx="7">
                  <c:v>1.6312435879906873E-2</c:v>
                </c:pt>
                <c:pt idx="8">
                  <c:v>8.2470583566920719E-2</c:v>
                </c:pt>
                <c:pt idx="9">
                  <c:v>1.1400874901468067E-2</c:v>
                </c:pt>
                <c:pt idx="10">
                  <c:v>8.3809375850921728E-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249600353817023E-3</c:v>
                </c:pt>
                <c:pt idx="1">
                  <c:v>1.2443923938520774E-2</c:v>
                </c:pt>
                <c:pt idx="2">
                  <c:v>1.6670401236197788E-2</c:v>
                </c:pt>
                <c:pt idx="3">
                  <c:v>4.5334745033686293E-2</c:v>
                </c:pt>
                <c:pt idx="4">
                  <c:v>6.0531542297092004E-2</c:v>
                </c:pt>
                <c:pt idx="5">
                  <c:v>6.7423599896182268E-2</c:v>
                </c:pt>
                <c:pt idx="6">
                  <c:v>0.10550384936561592</c:v>
                </c:pt>
                <c:pt idx="7">
                  <c:v>0.20935329812945264</c:v>
                </c:pt>
                <c:pt idx="8">
                  <c:v>0.18200643392867144</c:v>
                </c:pt>
                <c:pt idx="9">
                  <c:v>5.0943431632022196E-2</c:v>
                </c:pt>
                <c:pt idx="10">
                  <c:v>0.2433638145071770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166140754915016E-2</c:v>
                </c:pt>
                <c:pt idx="1">
                  <c:v>1.5633277822468455E-2</c:v>
                </c:pt>
                <c:pt idx="2">
                  <c:v>2.8142038356699532E-2</c:v>
                </c:pt>
                <c:pt idx="3">
                  <c:v>6.0911867845577033E-2</c:v>
                </c:pt>
                <c:pt idx="4">
                  <c:v>9.3166401312493333E-2</c:v>
                </c:pt>
                <c:pt idx="5">
                  <c:v>9.3267342556455732E-2</c:v>
                </c:pt>
                <c:pt idx="6">
                  <c:v>0.10621791691026569</c:v>
                </c:pt>
                <c:pt idx="7">
                  <c:v>0.17286318021440519</c:v>
                </c:pt>
                <c:pt idx="8">
                  <c:v>0.1708689325128169</c:v>
                </c:pt>
                <c:pt idx="9">
                  <c:v>0.13656175115690375</c:v>
                </c:pt>
                <c:pt idx="10">
                  <c:v>5.820115055699940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5.6242758868100303E-4</c:v>
                </c:pt>
                <c:pt idx="8">
                  <c:v>1.06532996572954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2664777716174217E-2</c:v>
                </c:pt>
                <c:pt idx="1">
                  <c:v>1.455215005945285E-2</c:v>
                </c:pt>
                <c:pt idx="2">
                  <c:v>3.1793157987583059E-2</c:v>
                </c:pt>
                <c:pt idx="3">
                  <c:v>4.8197250418922831E-2</c:v>
                </c:pt>
                <c:pt idx="4">
                  <c:v>3.6172401739128744E-2</c:v>
                </c:pt>
                <c:pt idx="5">
                  <c:v>0.10756737889583759</c:v>
                </c:pt>
                <c:pt idx="6">
                  <c:v>0.1437797360274827</c:v>
                </c:pt>
                <c:pt idx="7">
                  <c:v>0.16541094068946494</c:v>
                </c:pt>
                <c:pt idx="8">
                  <c:v>0.17248314445239338</c:v>
                </c:pt>
                <c:pt idx="9">
                  <c:v>0.20438488641867086</c:v>
                </c:pt>
                <c:pt idx="10">
                  <c:v>6.299417559488881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3.7298040148804625E-3</c:v>
                </c:pt>
                <c:pt idx="8">
                  <c:v>1.297550588120280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592531584901567E-3</c:v>
                </c:pt>
                <c:pt idx="1">
                  <c:v>3.9365746906015022E-3</c:v>
                </c:pt>
                <c:pt idx="2">
                  <c:v>2.0756412271314948E-2</c:v>
                </c:pt>
                <c:pt idx="3">
                  <c:v>9.2991716400437199E-2</c:v>
                </c:pt>
                <c:pt idx="4">
                  <c:v>2.4277269541755013E-2</c:v>
                </c:pt>
                <c:pt idx="5">
                  <c:v>8.0415999435181115E-2</c:v>
                </c:pt>
                <c:pt idx="6">
                  <c:v>0.11774145970678358</c:v>
                </c:pt>
                <c:pt idx="7">
                  <c:v>0.21111395390431634</c:v>
                </c:pt>
                <c:pt idx="8">
                  <c:v>0.14924836341310024</c:v>
                </c:pt>
                <c:pt idx="9">
                  <c:v>0.13462867849848958</c:v>
                </c:pt>
                <c:pt idx="10">
                  <c:v>0.160730318979530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6.834180411023086E-4</c:v>
                </c:pt>
                <c:pt idx="7">
                  <c:v>1.1164244939379344E-3</c:v>
                </c:pt>
                <c:pt idx="8">
                  <c:v>1.294446475102322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2344219405181581E-2</c:v>
                </c:pt>
                <c:pt idx="1">
                  <c:v>1.8525575310990968E-2</c:v>
                </c:pt>
                <c:pt idx="2">
                  <c:v>1.0830848402378098E-2</c:v>
                </c:pt>
                <c:pt idx="3">
                  <c:v>1.3091761934090175E-2</c:v>
                </c:pt>
                <c:pt idx="4">
                  <c:v>2.2727357841393021E-2</c:v>
                </c:pt>
                <c:pt idx="5">
                  <c:v>0.15249326265147259</c:v>
                </c:pt>
                <c:pt idx="6">
                  <c:v>0.13267291400029826</c:v>
                </c:pt>
                <c:pt idx="7">
                  <c:v>0.14714524172169652</c:v>
                </c:pt>
                <c:pt idx="8">
                  <c:v>0.27503709972378243</c:v>
                </c:pt>
                <c:pt idx="9">
                  <c:v>0.18376269779339161</c:v>
                </c:pt>
                <c:pt idx="10">
                  <c:v>2.136902121532473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72656352017654E-2</c:v>
                </c:pt>
                <c:pt idx="1">
                  <c:v>2.3212152827471175E-2</c:v>
                </c:pt>
                <c:pt idx="2">
                  <c:v>9.5276320472047864E-3</c:v>
                </c:pt>
                <c:pt idx="3">
                  <c:v>2.0834565919059692E-2</c:v>
                </c:pt>
                <c:pt idx="4">
                  <c:v>5.6280952496327273E-2</c:v>
                </c:pt>
                <c:pt idx="5">
                  <c:v>0.14858554007140801</c:v>
                </c:pt>
                <c:pt idx="6">
                  <c:v>0.13431405689832426</c:v>
                </c:pt>
                <c:pt idx="7">
                  <c:v>0.17459164325638374</c:v>
                </c:pt>
                <c:pt idx="8">
                  <c:v>0.24859878263049723</c:v>
                </c:pt>
                <c:pt idx="9">
                  <c:v>0.15784269013818411</c:v>
                </c:pt>
                <c:pt idx="10">
                  <c:v>6.439327363122094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1918174965397519E-2</c:v>
                </c:pt>
                <c:pt idx="1">
                  <c:v>7.2063106135973071E-3</c:v>
                </c:pt>
                <c:pt idx="2">
                  <c:v>7.4454837871766096E-3</c:v>
                </c:pt>
                <c:pt idx="3">
                  <c:v>1.292014843570851E-2</c:v>
                </c:pt>
                <c:pt idx="4">
                  <c:v>6.6563239755059123E-2</c:v>
                </c:pt>
                <c:pt idx="5">
                  <c:v>0.16102300693596588</c:v>
                </c:pt>
                <c:pt idx="6">
                  <c:v>0.13290516588104634</c:v>
                </c:pt>
                <c:pt idx="7">
                  <c:v>0.17400543608853142</c:v>
                </c:pt>
                <c:pt idx="8">
                  <c:v>0.20826118401731084</c:v>
                </c:pt>
                <c:pt idx="9">
                  <c:v>0.12870129858787954</c:v>
                </c:pt>
                <c:pt idx="10">
                  <c:v>6.905055093232685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3.9100962025063971E-3</c:v>
                </c:pt>
                <c:pt idx="6">
                  <c:v>1.6312763370760876E-3</c:v>
                </c:pt>
                <c:pt idx="7">
                  <c:v>1.7009624633459602E-3</c:v>
                </c:pt>
                <c:pt idx="8">
                  <c:v>6.6847522274163847E-3</c:v>
                </c:pt>
                <c:pt idx="9">
                  <c:v>7.6942001842197948E-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3963418572699626E-2</c:v>
                </c:pt>
                <c:pt idx="1">
                  <c:v>2.1724384786094904E-2</c:v>
                </c:pt>
                <c:pt idx="2">
                  <c:v>4.1414606767385245E-2</c:v>
                </c:pt>
                <c:pt idx="3">
                  <c:v>2.1675870432187948E-2</c:v>
                </c:pt>
                <c:pt idx="4">
                  <c:v>5.2576267878937134E-2</c:v>
                </c:pt>
                <c:pt idx="5">
                  <c:v>6.372480657963811E-2</c:v>
                </c:pt>
                <c:pt idx="6">
                  <c:v>0.13090576767225237</c:v>
                </c:pt>
                <c:pt idx="7">
                  <c:v>0.17797195797908866</c:v>
                </c:pt>
                <c:pt idx="8">
                  <c:v>0.38160066799202275</c:v>
                </c:pt>
                <c:pt idx="9">
                  <c:v>7.1611015796664484E-2</c:v>
                </c:pt>
                <c:pt idx="10">
                  <c:v>2.8312355430287787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6578369953938744E-2</c:v>
                </c:pt>
                <c:pt idx="1">
                  <c:v>3.9748049335277494E-2</c:v>
                </c:pt>
                <c:pt idx="2">
                  <c:v>3.6152583544337216E-2</c:v>
                </c:pt>
                <c:pt idx="3">
                  <c:v>2.5469849750860741E-2</c:v>
                </c:pt>
                <c:pt idx="4">
                  <c:v>6.4813880382745381E-2</c:v>
                </c:pt>
                <c:pt idx="5">
                  <c:v>8.5197700245182306E-2</c:v>
                </c:pt>
                <c:pt idx="6">
                  <c:v>0.17447621527054125</c:v>
                </c:pt>
                <c:pt idx="7">
                  <c:v>0.20259246306990597</c:v>
                </c:pt>
                <c:pt idx="8">
                  <c:v>0.20923515941614845</c:v>
                </c:pt>
                <c:pt idx="9">
                  <c:v>0.10072276476360653</c:v>
                </c:pt>
                <c:pt idx="10">
                  <c:v>5.0129642674558942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1541257537623539E-2</c:v>
                </c:pt>
                <c:pt idx="1">
                  <c:v>9.117305413480924E-3</c:v>
                </c:pt>
                <c:pt idx="2">
                  <c:v>1.6301635329842315E-2</c:v>
                </c:pt>
                <c:pt idx="3">
                  <c:v>1.2411255521436126E-2</c:v>
                </c:pt>
                <c:pt idx="4">
                  <c:v>5.219875481715807E-2</c:v>
                </c:pt>
                <c:pt idx="5">
                  <c:v>9.1798095526811688E-2</c:v>
                </c:pt>
                <c:pt idx="6">
                  <c:v>0.20263346870495211</c:v>
                </c:pt>
                <c:pt idx="7">
                  <c:v>0.15958441887694685</c:v>
                </c:pt>
                <c:pt idx="8">
                  <c:v>0.3649632933266263</c:v>
                </c:pt>
                <c:pt idx="9">
                  <c:v>7.9450514945122119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22923696978769E-2</c:v>
                </c:pt>
                <c:pt idx="1">
                  <c:v>3.4208146091019583E-2</c:v>
                </c:pt>
                <c:pt idx="2">
                  <c:v>4.638899137720838E-2</c:v>
                </c:pt>
                <c:pt idx="3">
                  <c:v>4.2363038609228514E-2</c:v>
                </c:pt>
                <c:pt idx="4">
                  <c:v>7.3599001227352398E-2</c:v>
                </c:pt>
                <c:pt idx="5">
                  <c:v>0.21666215265832334</c:v>
                </c:pt>
                <c:pt idx="6">
                  <c:v>0.35850197330543981</c:v>
                </c:pt>
                <c:pt idx="7">
                  <c:v>0.11680761238296965</c:v>
                </c:pt>
                <c:pt idx="8">
                  <c:v>4.7250813869102577E-2</c:v>
                </c:pt>
                <c:pt idx="9">
                  <c:v>2.298885181058734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3220514636903894E-2</c:v>
                </c:pt>
                <c:pt idx="1">
                  <c:v>1.2441037528871992E-2</c:v>
                </c:pt>
                <c:pt idx="2">
                  <c:v>8.7624574801509106E-2</c:v>
                </c:pt>
                <c:pt idx="3">
                  <c:v>3.028285437437974E-2</c:v>
                </c:pt>
                <c:pt idx="4">
                  <c:v>0.14027776593737548</c:v>
                </c:pt>
                <c:pt idx="5">
                  <c:v>0.28950622024873895</c:v>
                </c:pt>
                <c:pt idx="6">
                  <c:v>0.21798642705429877</c:v>
                </c:pt>
                <c:pt idx="7">
                  <c:v>5.6581598744397013E-2</c:v>
                </c:pt>
                <c:pt idx="8">
                  <c:v>9.882715982471646E-2</c:v>
                </c:pt>
                <c:pt idx="9">
                  <c:v>1.325184684880861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79716802825232E-2</c:v>
                </c:pt>
                <c:pt idx="1">
                  <c:v>1.6257884832080134E-2</c:v>
                </c:pt>
                <c:pt idx="2">
                  <c:v>2.1276504885351145E-2</c:v>
                </c:pt>
                <c:pt idx="3">
                  <c:v>3.9468468948909249E-2</c:v>
                </c:pt>
                <c:pt idx="4">
                  <c:v>5.1557744079106287E-2</c:v>
                </c:pt>
                <c:pt idx="5">
                  <c:v>0.10236317325345326</c:v>
                </c:pt>
                <c:pt idx="6">
                  <c:v>0.13074660672941371</c:v>
                </c:pt>
                <c:pt idx="7">
                  <c:v>0.17793801242919713</c:v>
                </c:pt>
                <c:pt idx="8">
                  <c:v>0.25642052623088829</c:v>
                </c:pt>
                <c:pt idx="9">
                  <c:v>0.10337145839958195</c:v>
                </c:pt>
                <c:pt idx="10">
                  <c:v>8.180245218376648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1847693416567171E-2</c:v>
                </c:pt>
                <c:pt idx="1">
                  <c:v>8.6420771688770298E-2</c:v>
                </c:pt>
                <c:pt idx="2">
                  <c:v>1.497950272481768E-2</c:v>
                </c:pt>
                <c:pt idx="3">
                  <c:v>3.8435745481682639E-2</c:v>
                </c:pt>
                <c:pt idx="4">
                  <c:v>9.2213614362690724E-2</c:v>
                </c:pt>
                <c:pt idx="5">
                  <c:v>0.23543198442819935</c:v>
                </c:pt>
                <c:pt idx="6">
                  <c:v>0.18117729862300255</c:v>
                </c:pt>
                <c:pt idx="7">
                  <c:v>0.20368518910803782</c:v>
                </c:pt>
                <c:pt idx="8">
                  <c:v>9.7217979514334779E-2</c:v>
                </c:pt>
                <c:pt idx="9">
                  <c:v>2.859022065189690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9496267520693014</c:v>
                </c:pt>
                <c:pt idx="1">
                  <c:v>1.2898882045537288E-2</c:v>
                </c:pt>
                <c:pt idx="2">
                  <c:v>1.7946845665942627E-2</c:v>
                </c:pt>
                <c:pt idx="3">
                  <c:v>2.9438823787704141E-2</c:v>
                </c:pt>
                <c:pt idx="4">
                  <c:v>9.6520940868899327E-2</c:v>
                </c:pt>
                <c:pt idx="5">
                  <c:v>8.4411859545073936E-2</c:v>
                </c:pt>
                <c:pt idx="6">
                  <c:v>0.18500629086262083</c:v>
                </c:pt>
                <c:pt idx="7">
                  <c:v>0.25423137173567506</c:v>
                </c:pt>
                <c:pt idx="8">
                  <c:v>0.10018099339047251</c:v>
                </c:pt>
                <c:pt idx="9">
                  <c:v>2.0525372145960695E-2</c:v>
                </c:pt>
                <c:pt idx="10">
                  <c:v>3.8759447451834806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25131734248297161</c:v>
                </c:pt>
                <c:pt idx="1">
                  <c:v>2.3995313180558159E-2</c:v>
                </c:pt>
                <c:pt idx="2">
                  <c:v>1.7913651730790934E-2</c:v>
                </c:pt>
                <c:pt idx="3">
                  <c:v>4.7597097714130857E-2</c:v>
                </c:pt>
                <c:pt idx="4">
                  <c:v>9.651889967226962E-2</c:v>
                </c:pt>
                <c:pt idx="5">
                  <c:v>0.11494751174683013</c:v>
                </c:pt>
                <c:pt idx="6">
                  <c:v>0.17365993639694652</c:v>
                </c:pt>
                <c:pt idx="7">
                  <c:v>0.17952376942204423</c:v>
                </c:pt>
                <c:pt idx="8">
                  <c:v>8.2893600058558198E-2</c:v>
                </c:pt>
                <c:pt idx="9">
                  <c:v>1.0852694598812915E-2</c:v>
                </c:pt>
                <c:pt idx="10">
                  <c:v>7.801829960868735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1134487526752247</c:v>
                </c:pt>
                <c:pt idx="1">
                  <c:v>8.6388730647585267E-3</c:v>
                </c:pt>
                <c:pt idx="2">
                  <c:v>7.0231276717453266E-3</c:v>
                </c:pt>
                <c:pt idx="3">
                  <c:v>2.7029708298252682E-2</c:v>
                </c:pt>
                <c:pt idx="4">
                  <c:v>9.9634202523714965E-2</c:v>
                </c:pt>
                <c:pt idx="5">
                  <c:v>8.093983357307101E-2</c:v>
                </c:pt>
                <c:pt idx="6">
                  <c:v>0.20959900182304106</c:v>
                </c:pt>
                <c:pt idx="7">
                  <c:v>0.23816393941505132</c:v>
                </c:pt>
                <c:pt idx="8">
                  <c:v>0.1377539702635304</c:v>
                </c:pt>
                <c:pt idx="9">
                  <c:v>6.5697004068989789E-2</c:v>
                </c:pt>
                <c:pt idx="10">
                  <c:v>1.4175464030322502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2.5949374037325524E-3</c:v>
                </c:pt>
                <c:pt idx="3">
                  <c:v>6.233114428646462E-4</c:v>
                </c:pt>
                <c:pt idx="5">
                  <c:v>1.7075603726103231E-3</c:v>
                </c:pt>
                <c:pt idx="6">
                  <c:v>1.3049926210790099E-3</c:v>
                </c:pt>
                <c:pt idx="7">
                  <c:v>3.7374453208120452E-3</c:v>
                </c:pt>
                <c:pt idx="8">
                  <c:v>4.4006933214249585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4.5462389171793266E-3</c:v>
                </c:pt>
                <c:pt idx="3">
                  <c:v>1.0920196899541514E-3</c:v>
                </c:pt>
                <c:pt idx="4">
                  <c:v>7.4793589741056288E-4</c:v>
                </c:pt>
                <c:pt idx="5">
                  <c:v>2.9915856190704379E-3</c:v>
                </c:pt>
                <c:pt idx="6">
                  <c:v>2.2863010999986011E-3</c:v>
                </c:pt>
                <c:pt idx="7">
                  <c:v>6.5478725397634698E-3</c:v>
                </c:pt>
                <c:pt idx="8">
                  <c:v>7.7098596720120652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86739615292647E-2</c:v>
                </c:pt>
                <c:pt idx="1">
                  <c:v>2.2440013185811045E-2</c:v>
                </c:pt>
                <c:pt idx="2">
                  <c:v>2.5308299426034547E-2</c:v>
                </c:pt>
                <c:pt idx="3">
                  <c:v>5.3762350004310379E-2</c:v>
                </c:pt>
                <c:pt idx="4">
                  <c:v>6.0479768899024261E-2</c:v>
                </c:pt>
                <c:pt idx="5">
                  <c:v>0.11906086687087766</c:v>
                </c:pt>
                <c:pt idx="6">
                  <c:v>0.13389055283916435</c:v>
                </c:pt>
                <c:pt idx="7">
                  <c:v>0.18936383046379757</c:v>
                </c:pt>
                <c:pt idx="8">
                  <c:v>0.20795372780999538</c:v>
                </c:pt>
                <c:pt idx="9">
                  <c:v>0.13703616353638809</c:v>
                </c:pt>
                <c:pt idx="10">
                  <c:v>2.67176873493040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8848811065502098E-3</c:v>
                </c:pt>
                <c:pt idx="3">
                  <c:v>4.5041711297573537E-3</c:v>
                </c:pt>
                <c:pt idx="4">
                  <c:v>8.0022391179891315E-4</c:v>
                </c:pt>
                <c:pt idx="5">
                  <c:v>3.2043831717822372E-3</c:v>
                </c:pt>
                <c:pt idx="6">
                  <c:v>2.846086397167409E-3</c:v>
                </c:pt>
                <c:pt idx="7">
                  <c:v>7.7798020967602037E-3</c:v>
                </c:pt>
                <c:pt idx="8">
                  <c:v>7.21137534056697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582354452281674E-2</c:v>
                </c:pt>
                <c:pt idx="1">
                  <c:v>1.0631957095508139E-2</c:v>
                </c:pt>
                <c:pt idx="2">
                  <c:v>1.7221234411258928E-2</c:v>
                </c:pt>
                <c:pt idx="3">
                  <c:v>6.6807752221266531E-2</c:v>
                </c:pt>
                <c:pt idx="4">
                  <c:v>4.9250627776390617E-2</c:v>
                </c:pt>
                <c:pt idx="5">
                  <c:v>0.11852846252856482</c:v>
                </c:pt>
                <c:pt idx="6">
                  <c:v>0.13127207598354879</c:v>
                </c:pt>
                <c:pt idx="7">
                  <c:v>0.18044499841671938</c:v>
                </c:pt>
                <c:pt idx="8">
                  <c:v>0.23112965900723814</c:v>
                </c:pt>
                <c:pt idx="9">
                  <c:v>0.10923037007143091</c:v>
                </c:pt>
                <c:pt idx="10">
                  <c:v>6.890050803579210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2.3055819896241159E-3</c:v>
                </c:pt>
                <c:pt idx="2">
                  <c:v>4.1111469122079884E-3</c:v>
                </c:pt>
                <c:pt idx="5">
                  <c:v>4.9810083208772097E-3</c:v>
                </c:pt>
                <c:pt idx="6">
                  <c:v>3.8259509711276803E-3</c:v>
                </c:pt>
                <c:pt idx="7">
                  <c:v>6.4162611443247938E-3</c:v>
                </c:pt>
                <c:pt idx="8">
                  <c:v>8.2549670353743686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0166596838760698E-2</c:v>
                </c:pt>
                <c:pt idx="1">
                  <c:v>6.5561221067472991E-4</c:v>
                </c:pt>
                <c:pt idx="2">
                  <c:v>1.8510121405579355E-3</c:v>
                </c:pt>
                <c:pt idx="3">
                  <c:v>0.14860482656659568</c:v>
                </c:pt>
                <c:pt idx="4">
                  <c:v>0.35492013915559961</c:v>
                </c:pt>
                <c:pt idx="5">
                  <c:v>9.2350015534680946E-2</c:v>
                </c:pt>
                <c:pt idx="6">
                  <c:v>2.4791251760488339E-2</c:v>
                </c:pt>
                <c:pt idx="7">
                  <c:v>0.12812412643390092</c:v>
                </c:pt>
                <c:pt idx="8">
                  <c:v>0.22102683231769249</c:v>
                </c:pt>
                <c:pt idx="9">
                  <c:v>7.438985863737163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5229844271682886E-2</c:v>
                </c:pt>
                <c:pt idx="1">
                  <c:v>1.2590592051960471E-3</c:v>
                </c:pt>
                <c:pt idx="2">
                  <c:v>3.2731555461713205E-2</c:v>
                </c:pt>
                <c:pt idx="3">
                  <c:v>0.14152197984434281</c:v>
                </c:pt>
                <c:pt idx="4">
                  <c:v>0.32430501393489058</c:v>
                </c:pt>
                <c:pt idx="5">
                  <c:v>7.9996151681788252E-2</c:v>
                </c:pt>
                <c:pt idx="6">
                  <c:v>9.6445642492324651E-2</c:v>
                </c:pt>
                <c:pt idx="7">
                  <c:v>0.11128880451125545</c:v>
                </c:pt>
                <c:pt idx="8">
                  <c:v>0.17753774739433337</c:v>
                </c:pt>
                <c:pt idx="9">
                  <c:v>9.291375765223822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0100304976349817E-3</c:v>
                </c:pt>
                <c:pt idx="3">
                  <c:v>0.26868346656608316</c:v>
                </c:pt>
                <c:pt idx="4">
                  <c:v>0.24448648886529212</c:v>
                </c:pt>
                <c:pt idx="5">
                  <c:v>9.7113091973844726E-2</c:v>
                </c:pt>
                <c:pt idx="6">
                  <c:v>2.9823957368037789E-2</c:v>
                </c:pt>
                <c:pt idx="7">
                  <c:v>0.16451004332234603</c:v>
                </c:pt>
                <c:pt idx="8">
                  <c:v>0.1923090863418820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069714754673051E-2</c:v>
                </c:pt>
                <c:pt idx="1">
                  <c:v>2.7620932864173206E-2</c:v>
                </c:pt>
                <c:pt idx="2">
                  <c:v>3.321975086399976E-2</c:v>
                </c:pt>
                <c:pt idx="3">
                  <c:v>5.0673883901639509E-2</c:v>
                </c:pt>
                <c:pt idx="4">
                  <c:v>8.0498478937970977E-2</c:v>
                </c:pt>
                <c:pt idx="5">
                  <c:v>0.11300954238676617</c:v>
                </c:pt>
                <c:pt idx="6">
                  <c:v>0.13054828460312656</c:v>
                </c:pt>
                <c:pt idx="7">
                  <c:v>0.16999688993527615</c:v>
                </c:pt>
                <c:pt idx="8">
                  <c:v>0.17596357403605906</c:v>
                </c:pt>
                <c:pt idx="9">
                  <c:v>0.1247508482589552</c:v>
                </c:pt>
                <c:pt idx="10">
                  <c:v>2.30206666653028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0681801079956994E-3</c:v>
                </c:pt>
                <c:pt idx="2">
                  <c:v>2.9228958218770959E-2</c:v>
                </c:pt>
                <c:pt idx="3">
                  <c:v>3.1519021903612604E-3</c:v>
                </c:pt>
                <c:pt idx="4">
                  <c:v>1.5768353612406562E-2</c:v>
                </c:pt>
                <c:pt idx="5">
                  <c:v>1.4096812643019339E-2</c:v>
                </c:pt>
                <c:pt idx="6">
                  <c:v>3.4586590784087837E-2</c:v>
                </c:pt>
                <c:pt idx="7">
                  <c:v>0.16463381743762401</c:v>
                </c:pt>
                <c:pt idx="8">
                  <c:v>0.2164237616324487</c:v>
                </c:pt>
                <c:pt idx="9">
                  <c:v>0.21428098529602463</c:v>
                </c:pt>
                <c:pt idx="10">
                  <c:v>0.303569672264184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070636178401637E-3</c:v>
                </c:pt>
                <c:pt idx="1">
                  <c:v>2.8111852108087237E-3</c:v>
                </c:pt>
                <c:pt idx="2">
                  <c:v>1.1733795016715527E-2</c:v>
                </c:pt>
                <c:pt idx="3">
                  <c:v>7.5748521230272065E-3</c:v>
                </c:pt>
                <c:pt idx="4">
                  <c:v>1.9009215663064603E-2</c:v>
                </c:pt>
                <c:pt idx="5">
                  <c:v>1.1686734111054545E-2</c:v>
                </c:pt>
                <c:pt idx="6">
                  <c:v>4.4282416000018393E-2</c:v>
                </c:pt>
                <c:pt idx="7">
                  <c:v>0.13481352044305056</c:v>
                </c:pt>
                <c:pt idx="8">
                  <c:v>0.11237839726299749</c:v>
                </c:pt>
                <c:pt idx="9">
                  <c:v>0.48396240184152367</c:v>
                </c:pt>
                <c:pt idx="10">
                  <c:v>0.1653404187098991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8030213217652804E-3</c:v>
                </c:pt>
                <c:pt idx="1">
                  <c:v>1.1362180091267829E-3</c:v>
                </c:pt>
                <c:pt idx="2">
                  <c:v>3.9025085112910272E-2</c:v>
                </c:pt>
                <c:pt idx="3">
                  <c:v>1.0743820448448566E-2</c:v>
                </c:pt>
                <c:pt idx="4">
                  <c:v>8.5138449354333519E-3</c:v>
                </c:pt>
                <c:pt idx="5">
                  <c:v>1.0761112831630315E-2</c:v>
                </c:pt>
                <c:pt idx="6">
                  <c:v>7.763991842218361E-2</c:v>
                </c:pt>
                <c:pt idx="7">
                  <c:v>0.17609201899160237</c:v>
                </c:pt>
                <c:pt idx="8">
                  <c:v>0.21875489647669405</c:v>
                </c:pt>
                <c:pt idx="9">
                  <c:v>0.24424792129717071</c:v>
                </c:pt>
                <c:pt idx="10">
                  <c:v>0.2072821421530346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79716802825232E-2</c:v>
                </c:pt>
                <c:pt idx="1">
                  <c:v>1.6257884832080134E-2</c:v>
                </c:pt>
                <c:pt idx="2">
                  <c:v>2.1276504885351145E-2</c:v>
                </c:pt>
                <c:pt idx="3">
                  <c:v>3.9468468948909249E-2</c:v>
                </c:pt>
                <c:pt idx="4">
                  <c:v>5.1557744079106287E-2</c:v>
                </c:pt>
                <c:pt idx="5">
                  <c:v>0.10236317325345326</c:v>
                </c:pt>
                <c:pt idx="6">
                  <c:v>0.13074660672941371</c:v>
                </c:pt>
                <c:pt idx="7">
                  <c:v>0.17793801242919713</c:v>
                </c:pt>
                <c:pt idx="8">
                  <c:v>0.25642052623088829</c:v>
                </c:pt>
                <c:pt idx="9">
                  <c:v>0.10337145839958195</c:v>
                </c:pt>
                <c:pt idx="10">
                  <c:v>8.180245218376648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1.0013581703572184E-2</c:v>
                </c:pt>
                <c:pt idx="4">
                  <c:v>1.6761301889800756E-3</c:v>
                </c:pt>
                <c:pt idx="5">
                  <c:v>7.5154465737778562E-3</c:v>
                </c:pt>
                <c:pt idx="6">
                  <c:v>2.830410340406952E-3</c:v>
                </c:pt>
                <c:pt idx="7">
                  <c:v>7.1996250911686537E-3</c:v>
                </c:pt>
                <c:pt idx="8">
                  <c:v>3.0056053383061584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86739615292647E-2</c:v>
                </c:pt>
                <c:pt idx="1">
                  <c:v>2.2440013185811045E-2</c:v>
                </c:pt>
                <c:pt idx="2">
                  <c:v>2.5308299426034547E-2</c:v>
                </c:pt>
                <c:pt idx="3">
                  <c:v>5.3762350004310379E-2</c:v>
                </c:pt>
                <c:pt idx="4">
                  <c:v>6.0479768899024261E-2</c:v>
                </c:pt>
                <c:pt idx="5">
                  <c:v>0.11906086687087766</c:v>
                </c:pt>
                <c:pt idx="6">
                  <c:v>0.13389055283916435</c:v>
                </c:pt>
                <c:pt idx="7">
                  <c:v>0.18936383046379757</c:v>
                </c:pt>
                <c:pt idx="8">
                  <c:v>0.20795372780999538</c:v>
                </c:pt>
                <c:pt idx="9">
                  <c:v>0.13703616353638809</c:v>
                </c:pt>
                <c:pt idx="10">
                  <c:v>2.67176873493040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2.3943019083519984E-3</c:v>
                </c:pt>
                <c:pt idx="3">
                  <c:v>2.7759782695379711E-3</c:v>
                </c:pt>
                <c:pt idx="5">
                  <c:v>1.9749023285045237E-3</c:v>
                </c:pt>
                <c:pt idx="6">
                  <c:v>1.754079444177327E-3</c:v>
                </c:pt>
                <c:pt idx="7">
                  <c:v>4.7947915254000807E-3</c:v>
                </c:pt>
                <c:pt idx="8">
                  <c:v>4.4444628461473108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1.687721138806102E-2</c:v>
                </c:pt>
                <c:pt idx="4">
                  <c:v>4.1377809660183397E-3</c:v>
                </c:pt>
                <c:pt idx="5">
                  <c:v>5.7693051247716251E-3</c:v>
                </c:pt>
                <c:pt idx="6">
                  <c:v>2.8979991016709087E-3</c:v>
                </c:pt>
                <c:pt idx="7">
                  <c:v>6.704058442431768E-3</c:v>
                </c:pt>
                <c:pt idx="8">
                  <c:v>2.0856655822744283E-3</c:v>
                </c:pt>
                <c:pt idx="9">
                  <c:v>1.870774705620196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582354452281674E-2</c:v>
                </c:pt>
                <c:pt idx="1">
                  <c:v>1.0631957095508139E-2</c:v>
                </c:pt>
                <c:pt idx="2">
                  <c:v>1.7221234411258928E-2</c:v>
                </c:pt>
                <c:pt idx="3">
                  <c:v>6.6807752221266531E-2</c:v>
                </c:pt>
                <c:pt idx="4">
                  <c:v>4.9250627776390617E-2</c:v>
                </c:pt>
                <c:pt idx="5">
                  <c:v>0.11852846252856482</c:v>
                </c:pt>
                <c:pt idx="6">
                  <c:v>0.13127207598354879</c:v>
                </c:pt>
                <c:pt idx="7">
                  <c:v>0.18044499841671938</c:v>
                </c:pt>
                <c:pt idx="8">
                  <c:v>0.23112965900723814</c:v>
                </c:pt>
                <c:pt idx="9">
                  <c:v>0.10923037007143091</c:v>
                </c:pt>
                <c:pt idx="10">
                  <c:v>6.890050803579210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2434220278421381E-4</c:v>
                </c:pt>
                <c:pt idx="2">
                  <c:v>2.102034168663126E-3</c:v>
                </c:pt>
                <c:pt idx="3">
                  <c:v>1.0576402164695872E-2</c:v>
                </c:pt>
                <c:pt idx="4">
                  <c:v>6.137762164272656E-3</c:v>
                </c:pt>
                <c:pt idx="5">
                  <c:v>4.6547806214410868E-3</c:v>
                </c:pt>
                <c:pt idx="6">
                  <c:v>1.3971078968719594E-3</c:v>
                </c:pt>
                <c:pt idx="7">
                  <c:v>1.2103558866146936E-2</c:v>
                </c:pt>
                <c:pt idx="8">
                  <c:v>1.8740460179451713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0166596838760698E-2</c:v>
                </c:pt>
                <c:pt idx="1">
                  <c:v>6.5561221067472991E-4</c:v>
                </c:pt>
                <c:pt idx="2">
                  <c:v>1.8510121405579355E-3</c:v>
                </c:pt>
                <c:pt idx="3">
                  <c:v>0.14860482656659568</c:v>
                </c:pt>
                <c:pt idx="4">
                  <c:v>0.35492013915559961</c:v>
                </c:pt>
                <c:pt idx="5">
                  <c:v>9.2350015534680946E-2</c:v>
                </c:pt>
                <c:pt idx="6">
                  <c:v>2.4791251760488339E-2</c:v>
                </c:pt>
                <c:pt idx="7">
                  <c:v>0.12812412643390092</c:v>
                </c:pt>
                <c:pt idx="8">
                  <c:v>0.22102683231769249</c:v>
                </c:pt>
                <c:pt idx="9">
                  <c:v>7.438985863737163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5229844271682886E-2</c:v>
                </c:pt>
                <c:pt idx="1">
                  <c:v>1.2590592051960471E-3</c:v>
                </c:pt>
                <c:pt idx="2">
                  <c:v>3.2731555461713205E-2</c:v>
                </c:pt>
                <c:pt idx="3">
                  <c:v>0.14152197984434281</c:v>
                </c:pt>
                <c:pt idx="4">
                  <c:v>0.32430501393489058</c:v>
                </c:pt>
                <c:pt idx="5">
                  <c:v>7.9996151681788252E-2</c:v>
                </c:pt>
                <c:pt idx="6">
                  <c:v>9.6445642492324651E-2</c:v>
                </c:pt>
                <c:pt idx="7">
                  <c:v>0.11128880451125545</c:v>
                </c:pt>
                <c:pt idx="8">
                  <c:v>0.17753774739433337</c:v>
                </c:pt>
                <c:pt idx="9">
                  <c:v>9.291375765223822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0100304976349817E-3</c:v>
                </c:pt>
                <c:pt idx="3">
                  <c:v>0.26868346656608316</c:v>
                </c:pt>
                <c:pt idx="4">
                  <c:v>0.24448648886529212</c:v>
                </c:pt>
                <c:pt idx="5">
                  <c:v>9.7113091973844726E-2</c:v>
                </c:pt>
                <c:pt idx="6">
                  <c:v>2.9823957368037789E-2</c:v>
                </c:pt>
                <c:pt idx="7">
                  <c:v>0.16451004332234603</c:v>
                </c:pt>
                <c:pt idx="8">
                  <c:v>0.1923090863418820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0681801079956994E-3</c:v>
                </c:pt>
                <c:pt idx="2">
                  <c:v>2.9228958218770959E-2</c:v>
                </c:pt>
                <c:pt idx="3">
                  <c:v>3.1519021903612604E-3</c:v>
                </c:pt>
                <c:pt idx="4">
                  <c:v>1.5768353612406562E-2</c:v>
                </c:pt>
                <c:pt idx="5">
                  <c:v>1.4096812643019339E-2</c:v>
                </c:pt>
                <c:pt idx="6">
                  <c:v>3.4586590784087837E-2</c:v>
                </c:pt>
                <c:pt idx="7">
                  <c:v>0.16463381743762401</c:v>
                </c:pt>
                <c:pt idx="8">
                  <c:v>0.2164237616324487</c:v>
                </c:pt>
                <c:pt idx="9">
                  <c:v>0.21428098529602463</c:v>
                </c:pt>
                <c:pt idx="10">
                  <c:v>0.303569672264184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166140754915016E-2</c:v>
                </c:pt>
                <c:pt idx="1">
                  <c:v>1.5633277822468455E-2</c:v>
                </c:pt>
                <c:pt idx="2">
                  <c:v>2.8142038356699532E-2</c:v>
                </c:pt>
                <c:pt idx="3">
                  <c:v>6.0911867845577033E-2</c:v>
                </c:pt>
                <c:pt idx="4">
                  <c:v>9.3166401312493333E-2</c:v>
                </c:pt>
                <c:pt idx="5">
                  <c:v>9.3267342556455732E-2</c:v>
                </c:pt>
                <c:pt idx="6">
                  <c:v>0.10621791691026569</c:v>
                </c:pt>
                <c:pt idx="7">
                  <c:v>0.17286318021440519</c:v>
                </c:pt>
                <c:pt idx="8">
                  <c:v>0.1708689325128169</c:v>
                </c:pt>
                <c:pt idx="9">
                  <c:v>0.13656175115690375</c:v>
                </c:pt>
                <c:pt idx="10">
                  <c:v>5.820115055699940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5.9047080093567903E-3</c:v>
                </c:pt>
                <c:pt idx="9">
                  <c:v>3.568871432906369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070636178401637E-3</c:v>
                </c:pt>
                <c:pt idx="1">
                  <c:v>2.8111852108087237E-3</c:v>
                </c:pt>
                <c:pt idx="2">
                  <c:v>1.1733795016715527E-2</c:v>
                </c:pt>
                <c:pt idx="3">
                  <c:v>7.5748521230272065E-3</c:v>
                </c:pt>
                <c:pt idx="4">
                  <c:v>1.9009215663064603E-2</c:v>
                </c:pt>
                <c:pt idx="5">
                  <c:v>1.1686734111054545E-2</c:v>
                </c:pt>
                <c:pt idx="6">
                  <c:v>4.4282416000018393E-2</c:v>
                </c:pt>
                <c:pt idx="7">
                  <c:v>0.13481352044305056</c:v>
                </c:pt>
                <c:pt idx="8">
                  <c:v>0.11237839726299749</c:v>
                </c:pt>
                <c:pt idx="9">
                  <c:v>0.48396240184152367</c:v>
                </c:pt>
                <c:pt idx="10">
                  <c:v>0.1653404187098991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5.3117914288242588E-3</c:v>
                </c:pt>
                <c:pt idx="9">
                  <c:v>9.026574759035521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8030213217652804E-3</c:v>
                </c:pt>
                <c:pt idx="1">
                  <c:v>1.1362180091267829E-3</c:v>
                </c:pt>
                <c:pt idx="2">
                  <c:v>3.9025085112910272E-2</c:v>
                </c:pt>
                <c:pt idx="3">
                  <c:v>1.0743820448448566E-2</c:v>
                </c:pt>
                <c:pt idx="4">
                  <c:v>8.5138449354333519E-3</c:v>
                </c:pt>
                <c:pt idx="5">
                  <c:v>1.0761112831630315E-2</c:v>
                </c:pt>
                <c:pt idx="6">
                  <c:v>7.763991842218361E-2</c:v>
                </c:pt>
                <c:pt idx="7">
                  <c:v>0.17609201899160237</c:v>
                </c:pt>
                <c:pt idx="8">
                  <c:v>0.21875489647669405</c:v>
                </c:pt>
                <c:pt idx="9">
                  <c:v>0.24424792129717071</c:v>
                </c:pt>
                <c:pt idx="10">
                  <c:v>0.2072821421530346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79716802825232E-2</c:v>
                </c:pt>
                <c:pt idx="1">
                  <c:v>1.6257884832080134E-2</c:v>
                </c:pt>
                <c:pt idx="2">
                  <c:v>2.1276504885351145E-2</c:v>
                </c:pt>
                <c:pt idx="3">
                  <c:v>3.9468468948909249E-2</c:v>
                </c:pt>
                <c:pt idx="4">
                  <c:v>5.1557744079106287E-2</c:v>
                </c:pt>
                <c:pt idx="5">
                  <c:v>0.10236317325345326</c:v>
                </c:pt>
                <c:pt idx="6">
                  <c:v>0.13074660672941371</c:v>
                </c:pt>
                <c:pt idx="7">
                  <c:v>0.17793801242919713</c:v>
                </c:pt>
                <c:pt idx="8">
                  <c:v>0.25642052623088829</c:v>
                </c:pt>
                <c:pt idx="9">
                  <c:v>0.10337145839958195</c:v>
                </c:pt>
                <c:pt idx="10">
                  <c:v>8.180245218376648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1.2992137567346953E-3</c:v>
                </c:pt>
                <c:pt idx="6">
                  <c:v>1.7253640500615628E-3</c:v>
                </c:pt>
                <c:pt idx="7">
                  <c:v>3.5809001329535541E-3</c:v>
                </c:pt>
                <c:pt idx="8">
                  <c:v>1.0568384492545829E-2</c:v>
                </c:pt>
                <c:pt idx="9">
                  <c:v>1.092315124218984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86739615292647E-2</c:v>
                </c:pt>
                <c:pt idx="1">
                  <c:v>2.2440013185811045E-2</c:v>
                </c:pt>
                <c:pt idx="2">
                  <c:v>2.5308299426034547E-2</c:v>
                </c:pt>
                <c:pt idx="3">
                  <c:v>5.3762350004310379E-2</c:v>
                </c:pt>
                <c:pt idx="4">
                  <c:v>6.0479768899024261E-2</c:v>
                </c:pt>
                <c:pt idx="5">
                  <c:v>0.11906086687087766</c:v>
                </c:pt>
                <c:pt idx="6">
                  <c:v>0.13389055283916435</c:v>
                </c:pt>
                <c:pt idx="7">
                  <c:v>0.18936383046379757</c:v>
                </c:pt>
                <c:pt idx="8">
                  <c:v>0.20795372780999538</c:v>
                </c:pt>
                <c:pt idx="9">
                  <c:v>0.13703616353638809</c:v>
                </c:pt>
                <c:pt idx="10">
                  <c:v>2.67176873493040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6.502139779190402E-4</c:v>
                </c:pt>
                <c:pt idx="6">
                  <c:v>2.4618690465788855E-3</c:v>
                </c:pt>
                <c:pt idx="7">
                  <c:v>7.1745509500708649E-3</c:v>
                </c:pt>
                <c:pt idx="8">
                  <c:v>8.5914969433410551E-3</c:v>
                </c:pt>
                <c:pt idx="9">
                  <c:v>1.33350776256455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582354452281674E-2</c:v>
                </c:pt>
                <c:pt idx="1">
                  <c:v>1.0631957095508139E-2</c:v>
                </c:pt>
                <c:pt idx="2">
                  <c:v>1.7221234411258928E-2</c:v>
                </c:pt>
                <c:pt idx="3">
                  <c:v>6.6807752221266531E-2</c:v>
                </c:pt>
                <c:pt idx="4">
                  <c:v>4.9250627776390617E-2</c:v>
                </c:pt>
                <c:pt idx="5">
                  <c:v>0.11852846252856482</c:v>
                </c:pt>
                <c:pt idx="6">
                  <c:v>0.13127207598354879</c:v>
                </c:pt>
                <c:pt idx="7">
                  <c:v>0.18044499841671938</c:v>
                </c:pt>
                <c:pt idx="8">
                  <c:v>0.23112965900723814</c:v>
                </c:pt>
                <c:pt idx="9">
                  <c:v>0.10923037007143091</c:v>
                </c:pt>
                <c:pt idx="10">
                  <c:v>6.890050803579210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9.3834611577078147E-4</c:v>
                </c:pt>
                <c:pt idx="2">
                  <c:v>1.6731908705889631E-3</c:v>
                </c:pt>
                <c:pt idx="5">
                  <c:v>2.0272147473181252E-3</c:v>
                </c:pt>
                <c:pt idx="6">
                  <c:v>1.5571193082890124E-3</c:v>
                </c:pt>
                <c:pt idx="7">
                  <c:v>2.6113466142792534E-3</c:v>
                </c:pt>
                <c:pt idx="8">
                  <c:v>3.3596793730689377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3.1450304334989998E-3</c:v>
                </c:pt>
                <c:pt idx="6">
                  <c:v>3.0075690687200933E-3</c:v>
                </c:pt>
                <c:pt idx="7">
                  <c:v>2.9420969806073132E-3</c:v>
                </c:pt>
                <c:pt idx="8">
                  <c:v>1.6424903435520586E-2</c:v>
                </c:pt>
                <c:pt idx="9">
                  <c:v>1.8905187618033612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0166596838760698E-2</c:v>
                </c:pt>
                <c:pt idx="1">
                  <c:v>6.5561221067472991E-4</c:v>
                </c:pt>
                <c:pt idx="2">
                  <c:v>1.8510121405579355E-3</c:v>
                </c:pt>
                <c:pt idx="3">
                  <c:v>0.14860482656659568</c:v>
                </c:pt>
                <c:pt idx="4">
                  <c:v>0.35492013915559961</c:v>
                </c:pt>
                <c:pt idx="5">
                  <c:v>9.2350015534680946E-2</c:v>
                </c:pt>
                <c:pt idx="6">
                  <c:v>2.4791251760488339E-2</c:v>
                </c:pt>
                <c:pt idx="7">
                  <c:v>0.12812412643390092</c:v>
                </c:pt>
                <c:pt idx="8">
                  <c:v>0.22102683231769249</c:v>
                </c:pt>
                <c:pt idx="9">
                  <c:v>7.438985863737163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8.4381561206346031E-2</c:v>
                </c:pt>
                <c:pt idx="6">
                  <c:v>2.7918831203136998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5229844271682886E-2</c:v>
                </c:pt>
                <c:pt idx="1">
                  <c:v>1.2590592051960471E-3</c:v>
                </c:pt>
                <c:pt idx="2">
                  <c:v>3.2731555461713205E-2</c:v>
                </c:pt>
                <c:pt idx="3">
                  <c:v>0.14152197984434281</c:v>
                </c:pt>
                <c:pt idx="4">
                  <c:v>0.32430501393489058</c:v>
                </c:pt>
                <c:pt idx="5">
                  <c:v>7.9996151681788252E-2</c:v>
                </c:pt>
                <c:pt idx="6">
                  <c:v>9.6445642492324651E-2</c:v>
                </c:pt>
                <c:pt idx="7">
                  <c:v>0.11128880451125545</c:v>
                </c:pt>
                <c:pt idx="8">
                  <c:v>0.17753774739433337</c:v>
                </c:pt>
                <c:pt idx="9">
                  <c:v>9.291375765223822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2.6462490913729043E-3</c:v>
                </c:pt>
                <c:pt idx="5">
                  <c:v>6.3878383003740671E-2</c:v>
                </c:pt>
                <c:pt idx="6">
                  <c:v>2.866358095839938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0100304976349817E-3</c:v>
                </c:pt>
                <c:pt idx="3">
                  <c:v>0.26868346656608316</c:v>
                </c:pt>
                <c:pt idx="4">
                  <c:v>0.24448648886529212</c:v>
                </c:pt>
                <c:pt idx="5">
                  <c:v>9.7113091973844726E-2</c:v>
                </c:pt>
                <c:pt idx="6">
                  <c:v>2.9823957368037789E-2</c:v>
                </c:pt>
                <c:pt idx="7">
                  <c:v>0.16451004332234603</c:v>
                </c:pt>
                <c:pt idx="8">
                  <c:v>0.1923090863418820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9.7105355184962494E-2</c:v>
                </c:pt>
                <c:pt idx="6">
                  <c:v>1.5035203438470262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0681801079956994E-3</c:v>
                </c:pt>
                <c:pt idx="2">
                  <c:v>2.9228958218770959E-2</c:v>
                </c:pt>
                <c:pt idx="3">
                  <c:v>3.1519021903612604E-3</c:v>
                </c:pt>
                <c:pt idx="4">
                  <c:v>1.5768353612406562E-2</c:v>
                </c:pt>
                <c:pt idx="5">
                  <c:v>1.4096812643019339E-2</c:v>
                </c:pt>
                <c:pt idx="6">
                  <c:v>3.4586590784087837E-2</c:v>
                </c:pt>
                <c:pt idx="7">
                  <c:v>0.16463381743762401</c:v>
                </c:pt>
                <c:pt idx="8">
                  <c:v>0.2164237616324487</c:v>
                </c:pt>
                <c:pt idx="9">
                  <c:v>0.21428098529602463</c:v>
                </c:pt>
                <c:pt idx="10">
                  <c:v>0.303569672264184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1.817023416677406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070636178401637E-3</c:v>
                </c:pt>
                <c:pt idx="1">
                  <c:v>2.8111852108087237E-3</c:v>
                </c:pt>
                <c:pt idx="2">
                  <c:v>1.1733795016715527E-2</c:v>
                </c:pt>
                <c:pt idx="3">
                  <c:v>7.5748521230272065E-3</c:v>
                </c:pt>
                <c:pt idx="4">
                  <c:v>1.9009215663064603E-2</c:v>
                </c:pt>
                <c:pt idx="5">
                  <c:v>1.1686734111054545E-2</c:v>
                </c:pt>
                <c:pt idx="6">
                  <c:v>4.4282416000018393E-2</c:v>
                </c:pt>
                <c:pt idx="7">
                  <c:v>0.13481352044305056</c:v>
                </c:pt>
                <c:pt idx="8">
                  <c:v>0.11237839726299749</c:v>
                </c:pt>
                <c:pt idx="9">
                  <c:v>0.48396240184152367</c:v>
                </c:pt>
                <c:pt idx="10">
                  <c:v>0.1653404187098991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2075590602913538E-2</c:v>
                </c:pt>
                <c:pt idx="1">
                  <c:v>1.639080822621522E-2</c:v>
                </c:pt>
                <c:pt idx="2">
                  <c:v>2.8305055337770453E-2</c:v>
                </c:pt>
                <c:pt idx="3">
                  <c:v>4.2299900341770766E-2</c:v>
                </c:pt>
                <c:pt idx="4">
                  <c:v>8.7002200153398351E-2</c:v>
                </c:pt>
                <c:pt idx="5">
                  <c:v>9.608248837393922E-2</c:v>
                </c:pt>
                <c:pt idx="6">
                  <c:v>0.11481066318864561</c:v>
                </c:pt>
                <c:pt idx="7">
                  <c:v>0.16443901429586391</c:v>
                </c:pt>
                <c:pt idx="8">
                  <c:v>0.21200061384242316</c:v>
                </c:pt>
                <c:pt idx="9">
                  <c:v>0.11609279258285989</c:v>
                </c:pt>
                <c:pt idx="10">
                  <c:v>6.050087305419988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4.5803649719760638E-3</c:v>
                </c:pt>
                <c:pt idx="7">
                  <c:v>1.731393129222696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8030213217652804E-3</c:v>
                </c:pt>
                <c:pt idx="1">
                  <c:v>1.1362180091267829E-3</c:v>
                </c:pt>
                <c:pt idx="2">
                  <c:v>3.9025085112910272E-2</c:v>
                </c:pt>
                <c:pt idx="3">
                  <c:v>1.0743820448448566E-2</c:v>
                </c:pt>
                <c:pt idx="4">
                  <c:v>8.5138449354333519E-3</c:v>
                </c:pt>
                <c:pt idx="5">
                  <c:v>1.0761112831630315E-2</c:v>
                </c:pt>
                <c:pt idx="6">
                  <c:v>7.763991842218361E-2</c:v>
                </c:pt>
                <c:pt idx="7">
                  <c:v>0.17609201899160237</c:v>
                </c:pt>
                <c:pt idx="8">
                  <c:v>0.21875489647669405</c:v>
                </c:pt>
                <c:pt idx="9">
                  <c:v>0.24424792129717071</c:v>
                </c:pt>
                <c:pt idx="10">
                  <c:v>0.2072821421530346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2.022863555306563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452095700271858E-2</c:v>
                </c:pt>
                <c:pt idx="1">
                  <c:v>6.9038415366902443E-3</c:v>
                </c:pt>
                <c:pt idx="2">
                  <c:v>3.8993138108884502E-2</c:v>
                </c:pt>
                <c:pt idx="3">
                  <c:v>9.2885754275378318E-2</c:v>
                </c:pt>
                <c:pt idx="4">
                  <c:v>0.12661389106941554</c:v>
                </c:pt>
                <c:pt idx="5">
                  <c:v>0.14139828617238459</c:v>
                </c:pt>
                <c:pt idx="6">
                  <c:v>8.327672553420401E-2</c:v>
                </c:pt>
                <c:pt idx="7">
                  <c:v>0.25943750265456544</c:v>
                </c:pt>
                <c:pt idx="8">
                  <c:v>0.16769832304927204</c:v>
                </c:pt>
                <c:pt idx="9">
                  <c:v>5.0813195599909045E-2</c:v>
                </c:pt>
                <c:pt idx="10">
                  <c:v>3.5272462990244605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7256199349716392E-2</c:v>
                </c:pt>
                <c:pt idx="3">
                  <c:v>8.9490464544238445E-3</c:v>
                </c:pt>
                <c:pt idx="4">
                  <c:v>6.129297074432178E-3</c:v>
                </c:pt>
                <c:pt idx="5">
                  <c:v>2.4515893736835173E-2</c:v>
                </c:pt>
                <c:pt idx="6">
                  <c:v>1.5661540441294683E-2</c:v>
                </c:pt>
                <c:pt idx="7">
                  <c:v>5.1338440136598447E-2</c:v>
                </c:pt>
                <c:pt idx="8">
                  <c:v>5.778867381508910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613377585847987E-2</c:v>
                </c:pt>
                <c:pt idx="1">
                  <c:v>1.56302030123537E-2</c:v>
                </c:pt>
                <c:pt idx="2">
                  <c:v>3.5294981321742719E-2</c:v>
                </c:pt>
                <c:pt idx="3">
                  <c:v>0.17153808610810198</c:v>
                </c:pt>
                <c:pt idx="4">
                  <c:v>0.13353047605469773</c:v>
                </c:pt>
                <c:pt idx="5">
                  <c:v>0.12917153792881839</c:v>
                </c:pt>
                <c:pt idx="6">
                  <c:v>7.2507313656684891E-2</c:v>
                </c:pt>
                <c:pt idx="7">
                  <c:v>0.21110141717184974</c:v>
                </c:pt>
                <c:pt idx="8">
                  <c:v>0.1733531988133058</c:v>
                </c:pt>
                <c:pt idx="9">
                  <c:v>1.9940538619508948E-2</c:v>
                </c:pt>
                <c:pt idx="10">
                  <c:v>9.3188697270881003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0743646429186058E-2</c:v>
                </c:pt>
                <c:pt idx="3">
                  <c:v>3.564450001734381E-2</c:v>
                </c:pt>
                <c:pt idx="4">
                  <c:v>6.3327037131317649E-3</c:v>
                </c:pt>
                <c:pt idx="5">
                  <c:v>2.5358413952695731E-2</c:v>
                </c:pt>
                <c:pt idx="6">
                  <c:v>1.714739853104838E-2</c:v>
                </c:pt>
                <c:pt idx="7">
                  <c:v>5.4161420006419936E-2</c:v>
                </c:pt>
                <c:pt idx="8">
                  <c:v>5.324888805616224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9437627523840919E-2</c:v>
                </c:pt>
                <c:pt idx="1">
                  <c:v>1.7339094554510329E-2</c:v>
                </c:pt>
                <c:pt idx="2">
                  <c:v>4.8088716519655232E-2</c:v>
                </c:pt>
                <c:pt idx="3">
                  <c:v>0.20562364600569663</c:v>
                </c:pt>
                <c:pt idx="4">
                  <c:v>6.6748547419724566E-2</c:v>
                </c:pt>
                <c:pt idx="5">
                  <c:v>0.12200576981432011</c:v>
                </c:pt>
                <c:pt idx="6">
                  <c:v>4.6184937163428488E-2</c:v>
                </c:pt>
                <c:pt idx="7">
                  <c:v>0.2232454479683828</c:v>
                </c:pt>
                <c:pt idx="8">
                  <c:v>0.15135974545254935</c:v>
                </c:pt>
                <c:pt idx="9">
                  <c:v>8.959978013454500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4718342014114258E-4</c:v>
                </c:pt>
                <c:pt idx="1">
                  <c:v>1.7339094554510329E-2</c:v>
                </c:pt>
                <c:pt idx="2">
                  <c:v>3.0917818303169083E-2</c:v>
                </c:pt>
                <c:pt idx="5">
                  <c:v>3.7265307107165531E-2</c:v>
                </c:pt>
                <c:pt idx="6">
                  <c:v>2.8448033461384293E-2</c:v>
                </c:pt>
                <c:pt idx="7">
                  <c:v>4.4328122572103452E-2</c:v>
                </c:pt>
                <c:pt idx="8">
                  <c:v>5.5989035289387354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4769638345262747E-2</c:v>
                </c:pt>
                <c:pt idx="2">
                  <c:v>2.317484993668747E-3</c:v>
                </c:pt>
                <c:pt idx="3">
                  <c:v>5.4889790522628559E-2</c:v>
                </c:pt>
                <c:pt idx="4">
                  <c:v>2.1417360193585859E-2</c:v>
                </c:pt>
                <c:pt idx="5">
                  <c:v>5.4955204292333013E-2</c:v>
                </c:pt>
                <c:pt idx="6">
                  <c:v>0.14927649358998393</c:v>
                </c:pt>
                <c:pt idx="7">
                  <c:v>0.13228898853114029</c:v>
                </c:pt>
                <c:pt idx="8">
                  <c:v>0.31299544147474445</c:v>
                </c:pt>
                <c:pt idx="9">
                  <c:v>0.14351406891192672</c:v>
                </c:pt>
                <c:pt idx="10">
                  <c:v>0.1132503095121440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5.7156295965310414E-3</c:v>
                </c:pt>
                <c:pt idx="4">
                  <c:v>9.5671455023492024E-4</c:v>
                </c:pt>
                <c:pt idx="5">
                  <c:v>4.2897247098816647E-3</c:v>
                </c:pt>
                <c:pt idx="6">
                  <c:v>1.6244189686863194E-3</c:v>
                </c:pt>
                <c:pt idx="7">
                  <c:v>4.2159626724751383E-3</c:v>
                </c:pt>
                <c:pt idx="8">
                  <c:v>1.7155626563656109E-3</c:v>
                </c:pt>
                <c:pt idx="9">
                  <c:v>6.4603845352862344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2.4908684377817599E-3</c:v>
                </c:pt>
                <c:pt idx="7">
                  <c:v>1.8803922850693005E-3</c:v>
                </c:pt>
                <c:pt idx="8">
                  <c:v>4.369324731405162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0921024996954196E-3</c:v>
                </c:pt>
                <c:pt idx="1">
                  <c:v>2.2013794513369753E-2</c:v>
                </c:pt>
                <c:pt idx="2">
                  <c:v>6.0164729451450899E-3</c:v>
                </c:pt>
                <c:pt idx="3">
                  <c:v>5.9948371208162959E-2</c:v>
                </c:pt>
                <c:pt idx="4">
                  <c:v>2.3502461461467138E-2</c:v>
                </c:pt>
                <c:pt idx="5">
                  <c:v>7.9254515665220515E-2</c:v>
                </c:pt>
                <c:pt idx="6">
                  <c:v>0.10057809753875296</c:v>
                </c:pt>
                <c:pt idx="7">
                  <c:v>0.25267661121730911</c:v>
                </c:pt>
                <c:pt idx="8">
                  <c:v>0.2504997063205352</c:v>
                </c:pt>
                <c:pt idx="9">
                  <c:v>0.15719468225499189</c:v>
                </c:pt>
                <c:pt idx="10">
                  <c:v>4.722318437535000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4.5806044136491907E-3</c:v>
                </c:pt>
                <c:pt idx="7">
                  <c:v>6.3101836833592551E-3</c:v>
                </c:pt>
                <c:pt idx="8">
                  <c:v>3.254666313604992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4.4188407897627199E-3</c:v>
                </c:pt>
                <c:pt idx="2">
                  <c:v>5.8871389526296255E-3</c:v>
                </c:pt>
                <c:pt idx="3">
                  <c:v>7.5686671135798342E-2</c:v>
                </c:pt>
                <c:pt idx="4">
                  <c:v>2.5428611936749682E-2</c:v>
                </c:pt>
                <c:pt idx="5">
                  <c:v>9.4776620778599371E-2</c:v>
                </c:pt>
                <c:pt idx="6">
                  <c:v>0.12887654807889964</c:v>
                </c:pt>
                <c:pt idx="7">
                  <c:v>0.13424372682216842</c:v>
                </c:pt>
                <c:pt idx="8">
                  <c:v>0.32910093090770842</c:v>
                </c:pt>
                <c:pt idx="9">
                  <c:v>0.10837235929418876</c:v>
                </c:pt>
                <c:pt idx="10">
                  <c:v>9.2823812325098912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3.1476117564476908E-3</c:v>
                </c:pt>
                <c:pt idx="8">
                  <c:v>4.8853314067439264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249600353817023E-3</c:v>
                </c:pt>
                <c:pt idx="1">
                  <c:v>1.2443923938520774E-2</c:v>
                </c:pt>
                <c:pt idx="2">
                  <c:v>1.6670401236197788E-2</c:v>
                </c:pt>
                <c:pt idx="3">
                  <c:v>4.5334745033686293E-2</c:v>
                </c:pt>
                <c:pt idx="4">
                  <c:v>6.0531542297092004E-2</c:v>
                </c:pt>
                <c:pt idx="5">
                  <c:v>6.7423599896182268E-2</c:v>
                </c:pt>
                <c:pt idx="6">
                  <c:v>0.10550384936561592</c:v>
                </c:pt>
                <c:pt idx="7">
                  <c:v>0.20935329812945264</c:v>
                </c:pt>
                <c:pt idx="8">
                  <c:v>0.18200643392867144</c:v>
                </c:pt>
                <c:pt idx="9">
                  <c:v>5.0943431632022196E-2</c:v>
                </c:pt>
                <c:pt idx="10">
                  <c:v>0.2433638145071770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2664777716174217E-2</c:v>
                </c:pt>
                <c:pt idx="1">
                  <c:v>1.455215005945285E-2</c:v>
                </c:pt>
                <c:pt idx="2">
                  <c:v>3.1793157987583059E-2</c:v>
                </c:pt>
                <c:pt idx="3">
                  <c:v>4.8197250418922831E-2</c:v>
                </c:pt>
                <c:pt idx="4">
                  <c:v>3.6172401739128744E-2</c:v>
                </c:pt>
                <c:pt idx="5">
                  <c:v>0.10756737889583759</c:v>
                </c:pt>
                <c:pt idx="6">
                  <c:v>0.1437797360274827</c:v>
                </c:pt>
                <c:pt idx="7">
                  <c:v>0.16541094068946494</c:v>
                </c:pt>
                <c:pt idx="8">
                  <c:v>0.17248314445239338</c:v>
                </c:pt>
                <c:pt idx="9">
                  <c:v>0.20438488641867086</c:v>
                </c:pt>
                <c:pt idx="10">
                  <c:v>6.299417559488881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592531584901567E-3</c:v>
                </c:pt>
                <c:pt idx="1">
                  <c:v>3.9365746906015022E-3</c:v>
                </c:pt>
                <c:pt idx="2">
                  <c:v>2.0756412271314948E-2</c:v>
                </c:pt>
                <c:pt idx="3">
                  <c:v>9.2991716400437199E-2</c:v>
                </c:pt>
                <c:pt idx="4">
                  <c:v>2.4277269541755013E-2</c:v>
                </c:pt>
                <c:pt idx="5">
                  <c:v>8.0415999435181115E-2</c:v>
                </c:pt>
                <c:pt idx="6">
                  <c:v>0.11774145970678358</c:v>
                </c:pt>
                <c:pt idx="7">
                  <c:v>0.21111395390431634</c:v>
                </c:pt>
                <c:pt idx="8">
                  <c:v>0.14924836341310024</c:v>
                </c:pt>
                <c:pt idx="9">
                  <c:v>0.13462867849848958</c:v>
                </c:pt>
                <c:pt idx="10">
                  <c:v>0.160730318979530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069714754673051E-2</c:v>
                </c:pt>
                <c:pt idx="1">
                  <c:v>2.7620932864173206E-2</c:v>
                </c:pt>
                <c:pt idx="2">
                  <c:v>3.321975086399976E-2</c:v>
                </c:pt>
                <c:pt idx="3">
                  <c:v>5.0673883901639509E-2</c:v>
                </c:pt>
                <c:pt idx="4">
                  <c:v>8.0498478937970977E-2</c:v>
                </c:pt>
                <c:pt idx="5">
                  <c:v>0.11300954238676617</c:v>
                </c:pt>
                <c:pt idx="6">
                  <c:v>0.13054828460312656</c:v>
                </c:pt>
                <c:pt idx="7">
                  <c:v>0.16999688993527615</c:v>
                </c:pt>
                <c:pt idx="8">
                  <c:v>0.17596357403605906</c:v>
                </c:pt>
                <c:pt idx="9">
                  <c:v>0.1247508482589552</c:v>
                </c:pt>
                <c:pt idx="10">
                  <c:v>2.30206666653028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2344219405181581E-2</c:v>
                </c:pt>
                <c:pt idx="1">
                  <c:v>1.8525575310990968E-2</c:v>
                </c:pt>
                <c:pt idx="2">
                  <c:v>1.0830848402378098E-2</c:v>
                </c:pt>
                <c:pt idx="3">
                  <c:v>1.3091761934090175E-2</c:v>
                </c:pt>
                <c:pt idx="4">
                  <c:v>2.2727357841393021E-2</c:v>
                </c:pt>
                <c:pt idx="5">
                  <c:v>0.15249326265147259</c:v>
                </c:pt>
                <c:pt idx="6">
                  <c:v>0.13267291400029826</c:v>
                </c:pt>
                <c:pt idx="7">
                  <c:v>0.14714524172169652</c:v>
                </c:pt>
                <c:pt idx="8">
                  <c:v>0.27503709972378243</c:v>
                </c:pt>
                <c:pt idx="9">
                  <c:v>0.18376269779339161</c:v>
                </c:pt>
                <c:pt idx="10">
                  <c:v>2.136902121532473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72656352017654E-2</c:v>
                </c:pt>
                <c:pt idx="1">
                  <c:v>2.3212152827471175E-2</c:v>
                </c:pt>
                <c:pt idx="2">
                  <c:v>9.5276320472047864E-3</c:v>
                </c:pt>
                <c:pt idx="3">
                  <c:v>2.0834565919059692E-2</c:v>
                </c:pt>
                <c:pt idx="4">
                  <c:v>5.6280952496327273E-2</c:v>
                </c:pt>
                <c:pt idx="5">
                  <c:v>0.14858554007140801</c:v>
                </c:pt>
                <c:pt idx="6">
                  <c:v>0.13431405689832426</c:v>
                </c:pt>
                <c:pt idx="7">
                  <c:v>0.17459164325638374</c:v>
                </c:pt>
                <c:pt idx="8">
                  <c:v>0.24859878263049723</c:v>
                </c:pt>
                <c:pt idx="9">
                  <c:v>0.15784269013818411</c:v>
                </c:pt>
                <c:pt idx="10">
                  <c:v>6.439327363122094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1918174965397519E-2</c:v>
                </c:pt>
                <c:pt idx="1">
                  <c:v>7.2063106135973071E-3</c:v>
                </c:pt>
                <c:pt idx="2">
                  <c:v>7.4454837871766096E-3</c:v>
                </c:pt>
                <c:pt idx="3">
                  <c:v>1.292014843570851E-2</c:v>
                </c:pt>
                <c:pt idx="4">
                  <c:v>6.6563239755059123E-2</c:v>
                </c:pt>
                <c:pt idx="5">
                  <c:v>0.16102300693596588</c:v>
                </c:pt>
                <c:pt idx="6">
                  <c:v>0.13290516588104634</c:v>
                </c:pt>
                <c:pt idx="7">
                  <c:v>0.17400543608853142</c:v>
                </c:pt>
                <c:pt idx="8">
                  <c:v>0.20826118401731084</c:v>
                </c:pt>
                <c:pt idx="9">
                  <c:v>0.12870129858787954</c:v>
                </c:pt>
                <c:pt idx="10">
                  <c:v>6.905055093232685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3963418572699626E-2</c:v>
                </c:pt>
                <c:pt idx="1">
                  <c:v>2.1724384786094904E-2</c:v>
                </c:pt>
                <c:pt idx="2">
                  <c:v>4.1414606767385245E-2</c:v>
                </c:pt>
                <c:pt idx="3">
                  <c:v>2.1675870432187948E-2</c:v>
                </c:pt>
                <c:pt idx="4">
                  <c:v>5.2576267878937134E-2</c:v>
                </c:pt>
                <c:pt idx="5">
                  <c:v>6.372480657963811E-2</c:v>
                </c:pt>
                <c:pt idx="6">
                  <c:v>0.13090576767225237</c:v>
                </c:pt>
                <c:pt idx="7">
                  <c:v>0.17797195797908866</c:v>
                </c:pt>
                <c:pt idx="8">
                  <c:v>0.38160066799202275</c:v>
                </c:pt>
                <c:pt idx="9">
                  <c:v>7.1611015796664484E-2</c:v>
                </c:pt>
                <c:pt idx="10">
                  <c:v>2.8312355430287787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6578369953938744E-2</c:v>
                </c:pt>
                <c:pt idx="1">
                  <c:v>3.9748049335277494E-2</c:v>
                </c:pt>
                <c:pt idx="2">
                  <c:v>3.6152583544337216E-2</c:v>
                </c:pt>
                <c:pt idx="3">
                  <c:v>2.5469849750860741E-2</c:v>
                </c:pt>
                <c:pt idx="4">
                  <c:v>6.4813880382745381E-2</c:v>
                </c:pt>
                <c:pt idx="5">
                  <c:v>8.5197700245182306E-2</c:v>
                </c:pt>
                <c:pt idx="6">
                  <c:v>0.17447621527054125</c:v>
                </c:pt>
                <c:pt idx="7">
                  <c:v>0.20259246306990597</c:v>
                </c:pt>
                <c:pt idx="8">
                  <c:v>0.20923515941614845</c:v>
                </c:pt>
                <c:pt idx="9">
                  <c:v>0.10072276476360653</c:v>
                </c:pt>
                <c:pt idx="10">
                  <c:v>5.0129642674558942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8" Type="http://schemas.openxmlformats.org/officeDocument/2006/relationships/chart" Target="../charts/chart29.xml"/><Relationship Id="rId3" Type="http://schemas.openxmlformats.org/officeDocument/2006/relationships/notesSlide" Target="../notesSlides/notesSlide10.xml"/><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3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notesSlide" Target="../notesSlides/notesSlide12.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notesSlide" Target="../notesSlides/notesSlide14.xml"/><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3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chart" Target="../charts/chart44.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8" Type="http://schemas.openxmlformats.org/officeDocument/2006/relationships/chart" Target="../charts/chart47.xml"/><Relationship Id="rId3" Type="http://schemas.openxmlformats.org/officeDocument/2006/relationships/notesSlide" Target="../notesSlides/notesSlide16.xml"/><Relationship Id="rId7" Type="http://schemas.openxmlformats.org/officeDocument/2006/relationships/chart" Target="../charts/chart4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chart" Target="../charts/chart50.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notesSlide" Target="../notesSlides/notesSlide18.xml"/><Relationship Id="rId7" Type="http://schemas.openxmlformats.org/officeDocument/2006/relationships/chart" Target="../charts/chart52.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5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chart" Target="../charts/chart56.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xml"/></Relationships>
</file>

<file path=ppt/slides/_rels/slide20.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notesSlide" Target="../notesSlides/notesSlide20.xml"/><Relationship Id="rId7" Type="http://schemas.openxmlformats.org/officeDocument/2006/relationships/chart" Target="../charts/chart58.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chart" Target="../charts/chart62.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8" Type="http://schemas.openxmlformats.org/officeDocument/2006/relationships/chart" Target="../charts/chart65.xml"/><Relationship Id="rId3" Type="http://schemas.openxmlformats.org/officeDocument/2006/relationships/notesSlide" Target="../notesSlides/notesSlide22.xml"/><Relationship Id="rId7" Type="http://schemas.openxmlformats.org/officeDocument/2006/relationships/chart" Target="../charts/chart64.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8" Type="http://schemas.openxmlformats.org/officeDocument/2006/relationships/chart" Target="../charts/chart71.xml"/><Relationship Id="rId3" Type="http://schemas.openxmlformats.org/officeDocument/2006/relationships/notesSlide" Target="../notesSlides/notesSlide24.xml"/><Relationship Id="rId7" Type="http://schemas.openxmlformats.org/officeDocument/2006/relationships/chart" Target="../charts/chart70.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6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chart" Target="../charts/chart74.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8" Type="http://schemas.openxmlformats.org/officeDocument/2006/relationships/chart" Target="../charts/chart77.xml"/><Relationship Id="rId3" Type="http://schemas.openxmlformats.org/officeDocument/2006/relationships/notesSlide" Target="../notesSlides/notesSlide26.xml"/><Relationship Id="rId7" Type="http://schemas.openxmlformats.org/officeDocument/2006/relationships/chart" Target="../charts/chart7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8.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chart" Target="../charts/chart80.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8" Type="http://schemas.openxmlformats.org/officeDocument/2006/relationships/chart" Target="../charts/chart83.xml"/><Relationship Id="rId3" Type="http://schemas.openxmlformats.org/officeDocument/2006/relationships/notesSlide" Target="../notesSlides/notesSlide28.xml"/><Relationship Id="rId7" Type="http://schemas.openxmlformats.org/officeDocument/2006/relationships/chart" Target="../charts/chart82.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84.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chart" Target="../charts/chart86.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8" Type="http://schemas.openxmlformats.org/officeDocument/2006/relationships/chart" Target="../charts/chart89.xml"/><Relationship Id="rId3" Type="http://schemas.openxmlformats.org/officeDocument/2006/relationships/notesSlide" Target="../notesSlides/notesSlide30.xml"/><Relationship Id="rId7" Type="http://schemas.openxmlformats.org/officeDocument/2006/relationships/chart" Target="../charts/chart88.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chart" Target="../charts/chart92.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8" Type="http://schemas.openxmlformats.org/officeDocument/2006/relationships/chart" Target="../charts/chart95.xml"/><Relationship Id="rId3" Type="http://schemas.openxmlformats.org/officeDocument/2006/relationships/notesSlide" Target="../notesSlides/notesSlide32.xml"/><Relationship Id="rId7" Type="http://schemas.openxmlformats.org/officeDocument/2006/relationships/chart" Target="../charts/chart94.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chart" Target="../charts/chart98.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8" Type="http://schemas.openxmlformats.org/officeDocument/2006/relationships/chart" Target="../charts/chart101.xml"/><Relationship Id="rId3" Type="http://schemas.openxmlformats.org/officeDocument/2006/relationships/notesSlide" Target="../notesSlides/notesSlide34.xml"/><Relationship Id="rId7" Type="http://schemas.openxmlformats.org/officeDocument/2006/relationships/chart" Target="../charts/chart100.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9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104.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8" Type="http://schemas.openxmlformats.org/officeDocument/2006/relationships/chart" Target="../charts/chart107.xml"/><Relationship Id="rId3" Type="http://schemas.openxmlformats.org/officeDocument/2006/relationships/notesSlide" Target="../notesSlides/notesSlide36.xml"/><Relationship Id="rId7" Type="http://schemas.openxmlformats.org/officeDocument/2006/relationships/chart" Target="../charts/chart10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8.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chart" Target="../charts/chart110.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8" Type="http://schemas.openxmlformats.org/officeDocument/2006/relationships/chart" Target="../charts/chart113.xml"/><Relationship Id="rId3" Type="http://schemas.openxmlformats.org/officeDocument/2006/relationships/notesSlide" Target="../notesSlides/notesSlide38.xml"/><Relationship Id="rId7" Type="http://schemas.openxmlformats.org/officeDocument/2006/relationships/chart" Target="../charts/chart112.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14.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chart" Target="../charts/chart116.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notesSlide" Target="../notesSlides/notesSlide4.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xml"/></Relationships>
</file>

<file path=ppt/slides/_rels/slide40.xml.rels><?xml version="1.0" encoding="UTF-8" standalone="yes"?>
<Relationships xmlns="http://schemas.openxmlformats.org/package/2006/relationships"><Relationship Id="rId8" Type="http://schemas.openxmlformats.org/officeDocument/2006/relationships/chart" Target="../charts/chart119.xml"/><Relationship Id="rId3" Type="http://schemas.openxmlformats.org/officeDocument/2006/relationships/notesSlide" Target="../notesSlides/notesSlide40.xml"/><Relationship Id="rId7" Type="http://schemas.openxmlformats.org/officeDocument/2006/relationships/chart" Target="../charts/chart118.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0.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chart" Target="../charts/chart122.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8" Type="http://schemas.openxmlformats.org/officeDocument/2006/relationships/chart" Target="../charts/chart125.xml"/><Relationship Id="rId3" Type="http://schemas.openxmlformats.org/officeDocument/2006/relationships/notesSlide" Target="../notesSlides/notesSlide42.xml"/><Relationship Id="rId7" Type="http://schemas.openxmlformats.org/officeDocument/2006/relationships/chart" Target="../charts/chart124.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6.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chart" Target="../charts/chart128.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8" Type="http://schemas.openxmlformats.org/officeDocument/2006/relationships/chart" Target="../charts/chart131.xml"/><Relationship Id="rId3" Type="http://schemas.openxmlformats.org/officeDocument/2006/relationships/notesSlide" Target="../notesSlides/notesSlide44.xml"/><Relationship Id="rId7" Type="http://schemas.openxmlformats.org/officeDocument/2006/relationships/chart" Target="../charts/chart130.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2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2.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chart" Target="../charts/chart134.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8" Type="http://schemas.openxmlformats.org/officeDocument/2006/relationships/chart" Target="../charts/chart137.xml"/><Relationship Id="rId3" Type="http://schemas.openxmlformats.org/officeDocument/2006/relationships/notesSlide" Target="../notesSlides/notesSlide46.xml"/><Relationship Id="rId7" Type="http://schemas.openxmlformats.org/officeDocument/2006/relationships/chart" Target="../charts/chart136.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8.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chart" Target="../charts/chart140.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8" Type="http://schemas.openxmlformats.org/officeDocument/2006/relationships/chart" Target="../charts/chart143.xml"/><Relationship Id="rId3" Type="http://schemas.openxmlformats.org/officeDocument/2006/relationships/notesSlide" Target="../notesSlides/notesSlide48.xml"/><Relationship Id="rId7" Type="http://schemas.openxmlformats.org/officeDocument/2006/relationships/chart" Target="../charts/chart142.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44.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chart" Target="../charts/chart146.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8" Type="http://schemas.openxmlformats.org/officeDocument/2006/relationships/chart" Target="../charts/chart149.xml"/><Relationship Id="rId3" Type="http://schemas.openxmlformats.org/officeDocument/2006/relationships/notesSlide" Target="../notesSlides/notesSlide50.xml"/><Relationship Id="rId7" Type="http://schemas.openxmlformats.org/officeDocument/2006/relationships/chart" Target="../charts/chart148.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0.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chart" Target="../charts/chart152.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8" Type="http://schemas.openxmlformats.org/officeDocument/2006/relationships/chart" Target="../charts/chart155.xml"/><Relationship Id="rId3" Type="http://schemas.openxmlformats.org/officeDocument/2006/relationships/notesSlide" Target="../notesSlides/notesSlide52.xml"/><Relationship Id="rId7" Type="http://schemas.openxmlformats.org/officeDocument/2006/relationships/chart" Target="../charts/chart154.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6.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chart" Target="../charts/chart158.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8" Type="http://schemas.openxmlformats.org/officeDocument/2006/relationships/chart" Target="../charts/chart161.xml"/><Relationship Id="rId3" Type="http://schemas.openxmlformats.org/officeDocument/2006/relationships/notesSlide" Target="../notesSlides/notesSlide54.xml"/><Relationship Id="rId7" Type="http://schemas.openxmlformats.org/officeDocument/2006/relationships/chart" Target="../charts/chart160.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5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2.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chart" Target="../charts/chart164.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8" Type="http://schemas.openxmlformats.org/officeDocument/2006/relationships/chart" Target="../charts/chart167.xml"/><Relationship Id="rId3" Type="http://schemas.openxmlformats.org/officeDocument/2006/relationships/notesSlide" Target="../notesSlides/notesSlide56.xml"/><Relationship Id="rId7" Type="http://schemas.openxmlformats.org/officeDocument/2006/relationships/chart" Target="../charts/chart166.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8.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chart" Target="../charts/chart170.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xml.rels><?xml version="1.0" encoding="UTF-8" standalone="yes"?>
<Relationships xmlns="http://schemas.openxmlformats.org/package/2006/relationships"><Relationship Id="rId8" Type="http://schemas.openxmlformats.org/officeDocument/2006/relationships/chart" Target="../charts/chart173.xml"/><Relationship Id="rId3" Type="http://schemas.openxmlformats.org/officeDocument/2006/relationships/notesSlide" Target="../notesSlides/notesSlide58.xml"/><Relationship Id="rId7" Type="http://schemas.openxmlformats.org/officeDocument/2006/relationships/chart" Target="../charts/chart172.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74.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chart" Target="../charts/chart176.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notesSlide" Target="../notesSlides/notesSlide6.xml"/><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xml"/></Relationships>
</file>

<file path=ppt/slides/_rels/slide60.xml.rels><?xml version="1.0" encoding="UTF-8" standalone="yes"?>
<Relationships xmlns="http://schemas.openxmlformats.org/package/2006/relationships"><Relationship Id="rId8" Type="http://schemas.openxmlformats.org/officeDocument/2006/relationships/chart" Target="../charts/chart179.xml"/><Relationship Id="rId3" Type="http://schemas.openxmlformats.org/officeDocument/2006/relationships/notesSlide" Target="../notesSlides/notesSlide60.xml"/><Relationship Id="rId7" Type="http://schemas.openxmlformats.org/officeDocument/2006/relationships/chart" Target="../charts/chart178.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0.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chart" Target="../charts/chart182.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xml.rels><?xml version="1.0" encoding="UTF-8" standalone="yes"?>
<Relationships xmlns="http://schemas.openxmlformats.org/package/2006/relationships"><Relationship Id="rId8" Type="http://schemas.openxmlformats.org/officeDocument/2006/relationships/chart" Target="../charts/chart185.xml"/><Relationship Id="rId3" Type="http://schemas.openxmlformats.org/officeDocument/2006/relationships/notesSlide" Target="../notesSlides/notesSlide62.xml"/><Relationship Id="rId7" Type="http://schemas.openxmlformats.org/officeDocument/2006/relationships/chart" Target="../charts/chart184.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6.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7" Type="http://schemas.openxmlformats.org/officeDocument/2006/relationships/chart" Target="../charts/chart188.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8" Type="http://schemas.openxmlformats.org/officeDocument/2006/relationships/chart" Target="../charts/chart191.xml"/><Relationship Id="rId3" Type="http://schemas.openxmlformats.org/officeDocument/2006/relationships/notesSlide" Target="../notesSlides/notesSlide64.xml"/><Relationship Id="rId7" Type="http://schemas.openxmlformats.org/officeDocument/2006/relationships/chart" Target="../charts/chart190.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8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2.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chart" Target="../charts/chart194.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xml.rels><?xml version="1.0" encoding="UTF-8" standalone="yes"?>
<Relationships xmlns="http://schemas.openxmlformats.org/package/2006/relationships"><Relationship Id="rId8" Type="http://schemas.openxmlformats.org/officeDocument/2006/relationships/chart" Target="../charts/chart197.xml"/><Relationship Id="rId3" Type="http://schemas.openxmlformats.org/officeDocument/2006/relationships/notesSlide" Target="../notesSlides/notesSlide66.xml"/><Relationship Id="rId7" Type="http://schemas.openxmlformats.org/officeDocument/2006/relationships/chart" Target="../charts/chart196.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notesSlide" Target="../notesSlides/notesSlide8.xml"/><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2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26.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093546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068797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657089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746571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032802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293022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179270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5688222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884951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012846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280308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00177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3259521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726289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3556949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160356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4466540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730556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2892430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066673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342873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985213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946436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856728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220783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095208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398975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504323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296118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46511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6037450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789005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07616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2619730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293780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189431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8193778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502600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6185947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0199840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8621041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6835210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9124315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259979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9718760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63167995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6076925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1061740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859810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9878086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1492959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31260653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4777797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60051329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468335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78407289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3118441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0675426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38521763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9686208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88428893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1372292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45779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649305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502010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65871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5587</Words>
  <Application>Microsoft Office PowerPoint</Application>
  <PresentationFormat>On-screen Show (16:9)</PresentationFormat>
  <Paragraphs>1736</Paragraphs>
  <Slides>66</Slides>
  <Notes>6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6</vt:i4>
      </vt:variant>
    </vt:vector>
  </HeadingPairs>
  <TitlesOfParts>
    <vt:vector size="7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08T12:39: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